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5481" r:id="rId1"/>
  </p:sldMasterIdLst>
  <p:notesMasterIdLst>
    <p:notesMasterId r:id="rId19"/>
  </p:notesMasterIdLst>
  <p:handoutMasterIdLst>
    <p:handoutMasterId r:id="rId20"/>
  </p:handoutMasterIdLst>
  <p:sldIdLst>
    <p:sldId id="1759" r:id="rId2"/>
    <p:sldId id="1813" r:id="rId3"/>
    <p:sldId id="1814" r:id="rId4"/>
    <p:sldId id="1815" r:id="rId5"/>
    <p:sldId id="1795" r:id="rId6"/>
    <p:sldId id="1792" r:id="rId7"/>
    <p:sldId id="1794" r:id="rId8"/>
    <p:sldId id="1822" r:id="rId9"/>
    <p:sldId id="1816" r:id="rId10"/>
    <p:sldId id="1784" r:id="rId11"/>
    <p:sldId id="1802" r:id="rId12"/>
    <p:sldId id="1777" r:id="rId13"/>
    <p:sldId id="1821" r:id="rId14"/>
    <p:sldId id="1818" r:id="rId15"/>
    <p:sldId id="1819" r:id="rId16"/>
    <p:sldId id="1820" r:id="rId17"/>
    <p:sldId id="1812" r:id="rId18"/>
  </p:sldIdLst>
  <p:sldSz cx="10693400" cy="7561263"/>
  <p:notesSz cx="6794500" cy="9906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2145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429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6434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85798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07248" algn="l" defTabSz="10429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3128698" algn="l" defTabSz="10429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650148" algn="l" defTabSz="10429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4171598" algn="l" defTabSz="10429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8508FA4-F4BB-48A8-A377-F74BAEBF0487}">
          <p14:sldIdLst>
            <p14:sldId id="1759"/>
            <p14:sldId id="1813"/>
            <p14:sldId id="1814"/>
            <p14:sldId id="1815"/>
            <p14:sldId id="1795"/>
            <p14:sldId id="1792"/>
            <p14:sldId id="1794"/>
            <p14:sldId id="1822"/>
            <p14:sldId id="1816"/>
            <p14:sldId id="1784"/>
            <p14:sldId id="1802"/>
            <p14:sldId id="1777"/>
            <p14:sldId id="1821"/>
            <p14:sldId id="1818"/>
            <p14:sldId id="1819"/>
            <p14:sldId id="1820"/>
            <p14:sldId id="1812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890">
          <p15:clr>
            <a:srgbClr val="A4A3A4"/>
          </p15:clr>
        </p15:guide>
        <p15:guide id="2" orient="horz" pos="2069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3622">
          <p15:clr>
            <a:srgbClr val="A4A3A4"/>
          </p15:clr>
        </p15:guide>
        <p15:guide id="5" orient="horz" pos="3562">
          <p15:clr>
            <a:srgbClr val="A4A3A4"/>
          </p15:clr>
        </p15:guide>
        <p15:guide id="6" orient="horz" pos="2326">
          <p15:clr>
            <a:srgbClr val="A4A3A4"/>
          </p15:clr>
        </p15:guide>
        <p15:guide id="7" pos="2093">
          <p15:clr>
            <a:srgbClr val="A4A3A4"/>
          </p15:clr>
        </p15:guide>
        <p15:guide id="8" pos="385">
          <p15:clr>
            <a:srgbClr val="A4A3A4"/>
          </p15:clr>
        </p15:guide>
        <p15:guide id="9" pos="5375">
          <p15:clr>
            <a:srgbClr val="A4A3A4"/>
          </p15:clr>
        </p15:guide>
        <p15:guide id="10" pos="4757">
          <p15:clr>
            <a:srgbClr val="A4A3A4"/>
          </p15:clr>
        </p15:guide>
        <p15:guide id="11" pos="567">
          <p15:clr>
            <a:srgbClr val="A4A3A4"/>
          </p15:clr>
        </p15:guide>
        <p15:guide id="12" pos="1990">
          <p15:clr>
            <a:srgbClr val="A4A3A4"/>
          </p15:clr>
        </p15:guide>
        <p15:guide id="13" pos="2812">
          <p15:clr>
            <a:srgbClr val="A4A3A4"/>
          </p15:clr>
        </p15:guide>
        <p15:guide id="14" pos="2948">
          <p15:clr>
            <a:srgbClr val="A4A3A4"/>
          </p15:clr>
        </p15:guide>
        <p15:guide id="15" pos="3673">
          <p15:clr>
            <a:srgbClr val="A4A3A4"/>
          </p15:clr>
        </p15:guide>
        <p15:guide id="16" pos="3790">
          <p15:clr>
            <a:srgbClr val="A4A3A4"/>
          </p15:clr>
        </p15:guide>
        <p15:guide id="17" orient="horz" pos="981">
          <p15:clr>
            <a:srgbClr val="A4A3A4"/>
          </p15:clr>
        </p15:guide>
        <p15:guide id="18" orient="horz" pos="2453">
          <p15:clr>
            <a:srgbClr val="A4A3A4"/>
          </p15:clr>
        </p15:guide>
        <p15:guide id="19" orient="horz" pos="782">
          <p15:clr>
            <a:srgbClr val="A4A3A4"/>
          </p15:clr>
        </p15:guide>
        <p15:guide id="20" orient="horz" pos="4275">
          <p15:clr>
            <a:srgbClr val="A4A3A4"/>
          </p15:clr>
        </p15:guide>
        <p15:guide id="21" orient="horz" pos="3927">
          <p15:clr>
            <a:srgbClr val="A4A3A4"/>
          </p15:clr>
        </p15:guide>
        <p15:guide id="22" orient="horz" pos="2565">
          <p15:clr>
            <a:srgbClr val="A4A3A4"/>
          </p15:clr>
        </p15:guide>
        <p15:guide id="23" orient="horz" pos="2674">
          <p15:clr>
            <a:srgbClr val="A4A3A4"/>
          </p15:clr>
        </p15:guide>
        <p15:guide id="24" orient="horz" pos="114">
          <p15:clr>
            <a:srgbClr val="A4A3A4"/>
          </p15:clr>
        </p15:guide>
        <p15:guide id="25" pos="2383">
          <p15:clr>
            <a:srgbClr val="A4A3A4"/>
          </p15:clr>
        </p15:guide>
        <p15:guide id="26" pos="273">
          <p15:clr>
            <a:srgbClr val="A4A3A4"/>
          </p15:clr>
        </p15:guide>
        <p15:guide id="27" pos="6463">
          <p15:clr>
            <a:srgbClr val="A4A3A4"/>
          </p15:clr>
        </p15:guide>
        <p15:guide id="28" pos="5659">
          <p15:clr>
            <a:srgbClr val="A4A3A4"/>
          </p15:clr>
        </p15:guide>
        <p15:guide id="29" pos="2261">
          <p15:clr>
            <a:srgbClr val="A4A3A4"/>
          </p15:clr>
        </p15:guide>
        <p15:guide id="30" pos="3301">
          <p15:clr>
            <a:srgbClr val="A4A3A4"/>
          </p15:clr>
        </p15:guide>
        <p15:guide id="31" pos="3435">
          <p15:clr>
            <a:srgbClr val="A4A3A4"/>
          </p15:clr>
        </p15:guide>
        <p15:guide id="32" pos="4367">
          <p15:clr>
            <a:srgbClr val="A4A3A4"/>
          </p15:clr>
        </p15:guide>
        <p15:guide id="33" pos="4498">
          <p15:clr>
            <a:srgbClr val="A4A3A4"/>
          </p15:clr>
        </p15:guide>
        <p15:guide id="34" pos="4815">
          <p15:clr>
            <a:srgbClr val="A4A3A4"/>
          </p15:clr>
        </p15:guide>
        <p15:guide id="35" orient="horz" pos="2451">
          <p15:clr>
            <a:srgbClr val="A4A3A4"/>
          </p15:clr>
        </p15:guide>
        <p15:guide id="36" orient="horz" pos="4762">
          <p15:clr>
            <a:srgbClr val="A4A3A4"/>
          </p15:clr>
        </p15:guide>
        <p15:guide id="37" orient="horz" pos="788">
          <p15:clr>
            <a:srgbClr val="A4A3A4"/>
          </p15:clr>
        </p15:guide>
        <p15:guide id="38" orient="horz" pos="4283">
          <p15:clr>
            <a:srgbClr val="A4A3A4"/>
          </p15:clr>
        </p15:guide>
        <p15:guide id="39" orient="horz" pos="4151">
          <p15:clr>
            <a:srgbClr val="A4A3A4"/>
          </p15:clr>
        </p15:guide>
        <p15:guide id="40" pos="5538">
          <p15:clr>
            <a:srgbClr val="A4A3A4"/>
          </p15:clr>
        </p15:guide>
        <p15:guide id="41">
          <p15:clr>
            <a:srgbClr val="A4A3A4"/>
          </p15:clr>
        </p15:guide>
        <p15:guide id="42" pos="6735">
          <p15:clr>
            <a:srgbClr val="A4A3A4"/>
          </p15:clr>
        </p15:guide>
        <p15:guide id="43" orient="horz">
          <p15:clr>
            <a:srgbClr val="A4A3A4"/>
          </p15:clr>
        </p15:guide>
        <p15:guide id="44" orient="horz" pos="2490">
          <p15:clr>
            <a:srgbClr val="A4A3A4"/>
          </p15:clr>
        </p15:guide>
        <p15:guide id="45" pos="6470">
          <p15:clr>
            <a:srgbClr val="A4A3A4"/>
          </p15:clr>
        </p15:guide>
        <p15:guide id="46" pos="6464">
          <p15:clr>
            <a:srgbClr val="A4A3A4"/>
          </p15:clr>
        </p15:guide>
        <p15:guide id="47" pos="2259">
          <p15:clr>
            <a:srgbClr val="A4A3A4"/>
          </p15:clr>
        </p15:guide>
        <p15:guide id="48" pos="5144">
          <p15:clr>
            <a:srgbClr val="A4A3A4"/>
          </p15:clr>
        </p15:guide>
        <p15:guide id="49" orient="horz" pos="482">
          <p15:clr>
            <a:srgbClr val="A4A3A4"/>
          </p15:clr>
        </p15:guide>
        <p15:guide id="50" orient="horz" pos="1819">
          <p15:clr>
            <a:srgbClr val="A4A3A4"/>
          </p15:clr>
        </p15:guide>
        <p15:guide id="51" orient="horz" pos="78">
          <p15:clr>
            <a:srgbClr val="A4A3A4"/>
          </p15:clr>
        </p15:guide>
        <p15:guide id="52" orient="horz" pos="2913">
          <p15:clr>
            <a:srgbClr val="A4A3A4"/>
          </p15:clr>
        </p15:guide>
        <p15:guide id="53" pos="1790">
          <p15:clr>
            <a:srgbClr val="A4A3A4"/>
          </p15:clr>
        </p15:guide>
        <p15:guide id="54" pos="1702">
          <p15:clr>
            <a:srgbClr val="A4A3A4"/>
          </p15:clr>
        </p15:guide>
        <p15:guide id="55" pos="2405">
          <p15:clr>
            <a:srgbClr val="A4A3A4"/>
          </p15:clr>
        </p15:guide>
        <p15:guide id="56" pos="2521">
          <p15:clr>
            <a:srgbClr val="A4A3A4"/>
          </p15:clr>
        </p15:guide>
        <p15:guide id="57" pos="3141">
          <p15:clr>
            <a:srgbClr val="A4A3A4"/>
          </p15:clr>
        </p15:guide>
        <p15:guide id="58" pos="3241">
          <p15:clr>
            <a:srgbClr val="A4A3A4"/>
          </p15:clr>
        </p15:guide>
        <p15:guide id="59" pos="233">
          <p15:clr>
            <a:srgbClr val="A4A3A4"/>
          </p15:clr>
        </p15:guide>
        <p15:guide id="60" pos="4839">
          <p15:clr>
            <a:srgbClr val="A4A3A4"/>
          </p15:clr>
        </p15:guide>
        <p15:guide id="61" pos="1933">
          <p15:clr>
            <a:srgbClr val="A4A3A4"/>
          </p15:clr>
        </p15:guide>
        <p15:guide id="62" pos="2823">
          <p15:clr>
            <a:srgbClr val="A4A3A4"/>
          </p15:clr>
        </p15:guide>
        <p15:guide id="63" pos="2937">
          <p15:clr>
            <a:srgbClr val="A4A3A4"/>
          </p15:clr>
        </p15:guide>
        <p15:guide id="64" pos="3734">
          <p15:clr>
            <a:srgbClr val="A4A3A4"/>
          </p15:clr>
        </p15:guide>
        <p15:guide id="65" pos="3846">
          <p15:clr>
            <a:srgbClr val="A4A3A4"/>
          </p15:clr>
        </p15:guide>
        <p15:guide id="66" pos="4736">
          <p15:clr>
            <a:srgbClr val="A4A3A4"/>
          </p15:clr>
        </p15:guide>
        <p15:guide id="67" pos="5527">
          <p15:clr>
            <a:srgbClr val="A4A3A4"/>
          </p15:clr>
        </p15:guide>
        <p15:guide id="68" pos="1932">
          <p15:clr>
            <a:srgbClr val="A4A3A4"/>
          </p15:clr>
        </p15:guide>
        <p15:guide id="69" orient="horz" pos="2765">
          <p15:clr>
            <a:srgbClr val="A4A3A4"/>
          </p15:clr>
        </p15:guide>
        <p15:guide id="70" orient="horz" pos="1760">
          <p15:clr>
            <a:srgbClr val="A4A3A4"/>
          </p15:clr>
        </p15:guide>
        <p15:guide id="71" orient="horz" pos="928">
          <p15:clr>
            <a:srgbClr val="A4A3A4"/>
          </p15:clr>
        </p15:guide>
        <p15:guide id="72" pos="3255">
          <p15:clr>
            <a:srgbClr val="A4A3A4"/>
          </p15:clr>
        </p15:guide>
        <p15:guide id="73" pos="505">
          <p15:clr>
            <a:srgbClr val="A4A3A4"/>
          </p15:clr>
        </p15:guide>
        <p15:guide id="74" pos="1197">
          <p15:clr>
            <a:srgbClr val="A4A3A4"/>
          </p15:clr>
        </p15:guide>
        <p15:guide id="75" pos="1566">
          <p15:clr>
            <a:srgbClr val="A4A3A4"/>
          </p15:clr>
        </p15:guide>
        <p15:guide id="76" pos="2520">
          <p15:clr>
            <a:srgbClr val="A4A3A4"/>
          </p15:clr>
        </p15:guide>
        <p15:guide id="77" orient="horz" pos="5325">
          <p15:clr>
            <a:srgbClr val="A4A3A4"/>
          </p15:clr>
        </p15:guide>
        <p15:guide id="78" orient="horz" pos="5236">
          <p15:clr>
            <a:srgbClr val="A4A3A4"/>
          </p15:clr>
        </p15:guide>
        <p15:guide id="79" orient="horz" pos="6285">
          <p15:clr>
            <a:srgbClr val="A4A3A4"/>
          </p15:clr>
        </p15:guide>
        <p15:guide id="80" orient="horz" pos="5773">
          <p15:clr>
            <a:srgbClr val="A4A3A4"/>
          </p15:clr>
        </p15:guide>
        <p15:guide id="81" orient="horz" pos="7000">
          <p15:clr>
            <a:srgbClr val="A4A3A4"/>
          </p15:clr>
        </p15:guide>
        <p15:guide id="82" orient="horz" pos="6296">
          <p15:clr>
            <a:srgbClr val="A4A3A4"/>
          </p15:clr>
        </p15:guide>
        <p15:guide id="83" orient="horz" pos="6102">
          <p15:clr>
            <a:srgbClr val="A4A3A4"/>
          </p15:clr>
        </p15:guide>
        <p15:guide id="84" orient="horz" pos="811">
          <p15:clr>
            <a:srgbClr val="A4A3A4"/>
          </p15:clr>
        </p15:guide>
        <p15:guide id="85" orient="horz" pos="4295">
          <p15:clr>
            <a:srgbClr val="A4A3A4"/>
          </p15:clr>
        </p15:guide>
        <p15:guide id="86" orient="horz" pos="2587">
          <p15:clr>
            <a:srgbClr val="A4A3A4"/>
          </p15:clr>
        </p15:guide>
        <p15:guide id="87" orient="horz" pos="254">
          <p15:clr>
            <a:srgbClr val="A4A3A4"/>
          </p15:clr>
        </p15:guide>
        <p15:guide id="88" pos="7558">
          <p15:clr>
            <a:srgbClr val="A4A3A4"/>
          </p15:clr>
        </p15:guide>
        <p15:guide id="89" pos="7876">
          <p15:clr>
            <a:srgbClr val="A4A3A4"/>
          </p15:clr>
        </p15:guide>
        <p15:guide id="90" pos="7566">
          <p15:clr>
            <a:srgbClr val="A4A3A4"/>
          </p15:clr>
        </p15:guide>
        <p15:guide id="91" pos="7559">
          <p15:clr>
            <a:srgbClr val="A4A3A4"/>
          </p15:clr>
        </p15:guide>
        <p15:guide id="92" pos="272">
          <p15:clr>
            <a:srgbClr val="A4A3A4"/>
          </p15:clr>
        </p15:guide>
        <p15:guide id="93" pos="2947">
          <p15:clr>
            <a:srgbClr val="A4A3A4"/>
          </p15:clr>
        </p15:guide>
        <p15:guide id="94" pos="1405">
          <p15:clr>
            <a:srgbClr val="A4A3A4"/>
          </p15:clr>
        </p15:guide>
        <p15:guide id="95" pos="2603">
          <p15:clr>
            <a:srgbClr val="A4A3A4"/>
          </p15:clr>
        </p15:guide>
        <p15:guide id="96" orient="horz" pos="234" userDrawn="1">
          <p15:clr>
            <a:srgbClr val="A4A3A4"/>
          </p15:clr>
        </p15:guide>
        <p15:guide id="97" orient="horz" pos="4280">
          <p15:clr>
            <a:srgbClr val="A4A3A4"/>
          </p15:clr>
        </p15:guide>
        <p15:guide id="98" orient="horz" pos="821">
          <p15:clr>
            <a:srgbClr val="A4A3A4"/>
          </p15:clr>
        </p15:guide>
        <p15:guide id="99" orient="horz" pos="25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wC" initials="PwC" lastIdx="6" clrIdx="0">
    <p:extLst/>
  </p:cmAuthor>
  <p:cmAuthor id="2" name="Oleg Ovechkin" initials="OOV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ED7E5"/>
    <a:srgbClr val="9EAFCA"/>
    <a:srgbClr val="DC5A20"/>
    <a:srgbClr val="FF9933"/>
    <a:srgbClr val="F5FDAD"/>
    <a:srgbClr val="0C377B"/>
    <a:srgbClr val="F9FECE"/>
    <a:srgbClr val="FDFFEB"/>
    <a:srgbClr val="6D87B0"/>
    <a:srgbClr val="6D5A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95" autoAdjust="0"/>
    <p:restoredTop sz="96433" autoAdjust="0"/>
  </p:normalViewPr>
  <p:slideViewPr>
    <p:cSldViewPr snapToGrid="0" showGuides="1">
      <p:cViewPr>
        <p:scale>
          <a:sx n="87" d="100"/>
          <a:sy n="87" d="100"/>
        </p:scale>
        <p:origin x="-869" y="-58"/>
      </p:cViewPr>
      <p:guideLst>
        <p:guide orient="horz" pos="890"/>
        <p:guide orient="horz" pos="2069"/>
        <p:guide orient="horz" pos="709"/>
        <p:guide orient="horz" pos="3622"/>
        <p:guide orient="horz" pos="3562"/>
        <p:guide orient="horz" pos="2326"/>
        <p:guide orient="horz" pos="981"/>
        <p:guide orient="horz" pos="2453"/>
        <p:guide orient="horz" pos="782"/>
        <p:guide orient="horz" pos="4275"/>
        <p:guide orient="horz" pos="3927"/>
        <p:guide orient="horz" pos="2565"/>
        <p:guide orient="horz" pos="2674"/>
        <p:guide orient="horz" pos="114"/>
        <p:guide orient="horz" pos="2451"/>
        <p:guide orient="horz" pos="4762"/>
        <p:guide orient="horz" pos="788"/>
        <p:guide orient="horz" pos="4283"/>
        <p:guide orient="horz" pos="4151"/>
        <p:guide orient="horz"/>
        <p:guide orient="horz" pos="2490"/>
        <p:guide orient="horz" pos="482"/>
        <p:guide orient="horz" pos="1819"/>
        <p:guide orient="horz" pos="78"/>
        <p:guide orient="horz" pos="2913"/>
        <p:guide orient="horz" pos="2765"/>
        <p:guide orient="horz" pos="1760"/>
        <p:guide orient="horz" pos="928"/>
        <p:guide orient="horz" pos="5325"/>
        <p:guide orient="horz" pos="5236"/>
        <p:guide orient="horz" pos="6285"/>
        <p:guide orient="horz" pos="5773"/>
        <p:guide orient="horz" pos="7000"/>
        <p:guide orient="horz" pos="6296"/>
        <p:guide orient="horz" pos="6102"/>
        <p:guide orient="horz" pos="811"/>
        <p:guide orient="horz" pos="4295"/>
        <p:guide orient="horz" pos="2587"/>
        <p:guide orient="horz" pos="254"/>
        <p:guide orient="horz" pos="234"/>
        <p:guide orient="horz" pos="4280"/>
        <p:guide orient="horz" pos="821"/>
        <p:guide orient="horz" pos="250"/>
        <p:guide pos="2093"/>
        <p:guide pos="385"/>
        <p:guide pos="5375"/>
        <p:guide pos="4757"/>
        <p:guide pos="567"/>
        <p:guide pos="1990"/>
        <p:guide pos="2812"/>
        <p:guide pos="2948"/>
        <p:guide pos="3673"/>
        <p:guide pos="3790"/>
        <p:guide pos="2383"/>
        <p:guide pos="273"/>
        <p:guide pos="6463"/>
        <p:guide pos="5659"/>
        <p:guide pos="2261"/>
        <p:guide pos="3301"/>
        <p:guide pos="3435"/>
        <p:guide pos="4367"/>
        <p:guide pos="4498"/>
        <p:guide pos="4815"/>
        <p:guide pos="5538"/>
        <p:guide/>
        <p:guide pos="6735"/>
        <p:guide pos="6470"/>
        <p:guide pos="6464"/>
        <p:guide pos="2259"/>
        <p:guide pos="5144"/>
        <p:guide pos="1790"/>
        <p:guide pos="1702"/>
        <p:guide pos="2405"/>
        <p:guide pos="2521"/>
        <p:guide pos="3141"/>
        <p:guide pos="3241"/>
        <p:guide pos="233"/>
        <p:guide pos="4839"/>
        <p:guide pos="1933"/>
        <p:guide pos="2823"/>
        <p:guide pos="2937"/>
        <p:guide pos="3734"/>
        <p:guide pos="3846"/>
        <p:guide pos="4736"/>
        <p:guide pos="5527"/>
        <p:guide pos="1932"/>
        <p:guide pos="3255"/>
        <p:guide pos="505"/>
        <p:guide pos="1197"/>
        <p:guide pos="1566"/>
        <p:guide pos="2520"/>
        <p:guide pos="7558"/>
        <p:guide pos="7876"/>
        <p:guide pos="7566"/>
        <p:guide pos="7559"/>
        <p:guide pos="272"/>
        <p:guide pos="2947"/>
        <p:guide pos="1405"/>
        <p:guide pos="2603"/>
      </p:guideLst>
    </p:cSldViewPr>
  </p:slideViewPr>
  <p:outlineViewPr>
    <p:cViewPr>
      <p:scale>
        <a:sx n="33" d="100"/>
        <a:sy n="33" d="100"/>
      </p:scale>
      <p:origin x="0" y="37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lnSpc>
                <a:spcPct val="70000"/>
              </a:lnSpc>
              <a:defRPr sz="1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/>
              <a:t>конкурентных </a:t>
            </a:r>
            <a:r>
              <a:rPr lang="ru-RU" sz="1800" dirty="0"/>
              <a:t>закупок на </a:t>
            </a:r>
            <a:r>
              <a:rPr lang="ru-RU" sz="1800" dirty="0" smtClean="0"/>
              <a:t>ЭТП,%</a:t>
            </a:r>
            <a:endParaRPr lang="ru-RU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% закупок на ЭТП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2"/>
              <c:layout>
                <c:manualLayout>
                  <c:x val="-3.4518451505628343E-2"/>
                  <c:y val="6.297437700179674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6</a:t>
                    </a:r>
                    <a:endParaRPr lang="en-US" dirty="0"/>
                  </a:p>
                </c:rich>
              </c:tx>
              <c:spPr>
                <a:solidFill>
                  <a:srgbClr val="DC5A20"/>
                </a:solidFill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1</c:v>
                </c:pt>
                <c:pt idx="1">
                  <c:v>78</c:v>
                </c:pt>
                <c:pt idx="2">
                  <c:v>96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4072064"/>
        <c:axId val="54073216"/>
      </c:lineChart>
      <c:catAx>
        <c:axId val="5407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073216"/>
        <c:crosses val="autoZero"/>
        <c:auto val="1"/>
        <c:lblAlgn val="ctr"/>
        <c:lblOffset val="100"/>
        <c:noMultiLvlLbl val="0"/>
      </c:catAx>
      <c:valAx>
        <c:axId val="54073216"/>
        <c:scaling>
          <c:orientation val="minMax"/>
          <c:max val="100"/>
          <c:min val="70"/>
        </c:scaling>
        <c:delete val="1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4072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2943438" cy="495855"/>
          </a:xfrm>
          <a:prstGeom prst="rect">
            <a:avLst/>
          </a:prstGeom>
        </p:spPr>
        <p:txBody>
          <a:bodyPr vert="horz" lIns="91747" tIns="45873" rIns="91747" bIns="45873" rtlCol="0"/>
          <a:lstStyle>
            <a:lvl1pPr algn="l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483" y="0"/>
            <a:ext cx="2943438" cy="495855"/>
          </a:xfrm>
          <a:prstGeom prst="rect">
            <a:avLst/>
          </a:prstGeom>
        </p:spPr>
        <p:txBody>
          <a:bodyPr vert="horz" lIns="91747" tIns="45873" rIns="91747" bIns="45873" rtlCol="0"/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99D0A000-1494-467A-A69B-05F261151425}" type="datetimeFigureOut">
              <a:rPr lang="ru-RU"/>
              <a:pPr>
                <a:defRPr/>
              </a:pPr>
              <a:t>18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6" y="9408562"/>
            <a:ext cx="2943438" cy="495854"/>
          </a:xfrm>
          <a:prstGeom prst="rect">
            <a:avLst/>
          </a:prstGeom>
        </p:spPr>
        <p:txBody>
          <a:bodyPr vert="horz" lIns="91747" tIns="45873" rIns="91747" bIns="45873" rtlCol="0" anchor="b"/>
          <a:lstStyle>
            <a:lvl1pPr algn="l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483" y="9408562"/>
            <a:ext cx="2943438" cy="495854"/>
          </a:xfrm>
          <a:prstGeom prst="rect">
            <a:avLst/>
          </a:prstGeom>
        </p:spPr>
        <p:txBody>
          <a:bodyPr vert="horz" wrap="square" lIns="91747" tIns="45873" rIns="91747" bIns="4587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0D1181B-5FDA-4920-B182-325F87D295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4948218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0"/>
            <a:ext cx="2943438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47" tIns="45873" rIns="91747" bIns="45873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83" y="0"/>
            <a:ext cx="2943438" cy="495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47" tIns="45873" rIns="91747" bIns="45873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ACBDDFB8-72CF-423A-A46D-6820ADAE898D}" type="datetimeFigureOut">
              <a:rPr lang="ru-RU"/>
              <a:pPr>
                <a:defRPr/>
              </a:pPr>
              <a:t>18.12.2017</a:t>
            </a:fld>
            <a:endParaRPr lang="ru-RU"/>
          </a:p>
        </p:txBody>
      </p:sp>
      <p:sp>
        <p:nvSpPr>
          <p:cNvPr id="1065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9938" y="742950"/>
            <a:ext cx="5254625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133" y="4706662"/>
            <a:ext cx="5436235" cy="445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47" tIns="45873" rIns="91747" bIns="458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408562"/>
            <a:ext cx="2943438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47" tIns="45873" rIns="91747" bIns="45873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83" y="9408562"/>
            <a:ext cx="2943438" cy="49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47" tIns="45873" rIns="91747" bIns="45873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DCB1CDA7-6104-4B0B-A5CF-87F746BBC6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7539834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52145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104290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56434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208579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607248" algn="l" defTabSz="10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698" algn="l" defTabSz="10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148" algn="l" defTabSz="10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1598" algn="l" defTabSz="10429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9938" y="742950"/>
            <a:ext cx="5254625" cy="3714750"/>
          </a:xfrm>
          <a:ln/>
        </p:spPr>
      </p:sp>
      <p:sp>
        <p:nvSpPr>
          <p:cNvPr id="1075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075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805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8591" indent="-283708" defTabSz="45805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6417" indent="-226650" defTabSz="45805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1300" indent="-226650" defTabSz="45805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6184" indent="-226650" defTabSz="45805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2652" indent="-226650" defTabSz="4580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9121" indent="-226650" defTabSz="4580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5589" indent="-226650" defTabSz="4580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72058" indent="-226650" defTabSz="45805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869ECE88-32A1-4500-9474-2B8F76E99601}" type="slidenum">
              <a:rPr lang="ru-RU" altLang="ru-RU" sz="1100">
                <a:solidFill>
                  <a:srgbClr val="000000"/>
                </a:solidFill>
                <a:ea typeface="MS PGothic" pitchFamily="34" charset="-128"/>
              </a:rPr>
              <a:pPr>
                <a:spcBef>
                  <a:spcPct val="0"/>
                </a:spcBef>
              </a:pPr>
              <a:t>1</a:t>
            </a:fld>
            <a:endParaRPr lang="ru-RU" altLang="ru-RU" sz="1100">
              <a:solidFill>
                <a:srgbClr val="000000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3793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69938" y="742950"/>
            <a:ext cx="5254625" cy="3714750"/>
          </a:xfrm>
          <a:ln/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b="1" dirty="0" smtClean="0"/>
              <a:t>Собственные средства</a:t>
            </a:r>
            <a:r>
              <a:rPr lang="ru-RU" altLang="ru-RU" dirty="0" smtClean="0"/>
              <a:t>: прибыль, амортизация, возврат НДС, неиспользованные</a:t>
            </a:r>
            <a:r>
              <a:rPr lang="ru-RU" altLang="ru-RU" baseline="0" dirty="0" smtClean="0"/>
              <a:t> остатки собственных средств прошлого периода, страховое возмещение.</a:t>
            </a:r>
          </a:p>
          <a:p>
            <a:r>
              <a:rPr lang="ru-RU" altLang="ru-RU" b="1" baseline="0" dirty="0" smtClean="0"/>
              <a:t>Привлеченные средства: </a:t>
            </a:r>
            <a:r>
              <a:rPr lang="ru-RU" altLang="ru-RU" b="0" baseline="0" dirty="0" smtClean="0"/>
              <a:t>кредиты и средства внешних инвесторов.</a:t>
            </a:r>
            <a:endParaRPr lang="ru-RU" altLang="ru-RU" b="0" dirty="0" smtClean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1761" indent="-285293">
              <a:defRPr>
                <a:solidFill>
                  <a:schemeClr val="tx1"/>
                </a:solidFill>
                <a:latin typeface="Arial" charset="0"/>
              </a:defRPr>
            </a:lvl2pPr>
            <a:lvl3pPr marL="1141171" indent="-228234">
              <a:defRPr>
                <a:solidFill>
                  <a:schemeClr val="tx1"/>
                </a:solidFill>
                <a:latin typeface="Arial" charset="0"/>
              </a:defRPr>
            </a:lvl3pPr>
            <a:lvl4pPr marL="1597640" indent="-228234">
              <a:defRPr>
                <a:solidFill>
                  <a:schemeClr val="tx1"/>
                </a:solidFill>
                <a:latin typeface="Arial" charset="0"/>
              </a:defRPr>
            </a:lvl4pPr>
            <a:lvl5pPr marL="2054108" indent="-228234">
              <a:defRPr>
                <a:solidFill>
                  <a:schemeClr val="tx1"/>
                </a:solidFill>
                <a:latin typeface="Arial" charset="0"/>
              </a:defRPr>
            </a:lvl5pPr>
            <a:lvl6pPr marL="2510577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67045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3514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79982" indent="-22823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2988652A-34CA-4010-B368-459B6C554FAC}" type="slidenum">
              <a:rPr lang="ru-RU" altLang="ru-RU">
                <a:solidFill>
                  <a:srgbClr val="000000"/>
                </a:solidFill>
              </a:rPr>
              <a:pPr/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84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71525" y="742950"/>
            <a:ext cx="5251450" cy="3714750"/>
          </a:xfrm>
          <a:ln/>
        </p:spPr>
      </p:sp>
      <p:sp>
        <p:nvSpPr>
          <p:cNvPr id="12595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259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91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38366" indent="-283621" defTabSz="45791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36071" indent="-226581" defTabSz="45791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0816" indent="-226581" defTabSz="45791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45560" indent="-226581" defTabSz="45791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01890" indent="-226581" defTabSz="45791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58219" indent="-226581" defTabSz="45791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14548" indent="-226581" defTabSz="45791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70878" indent="-226581" defTabSz="45791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F3F0E162-314C-4130-8CCE-D161347025EC}" type="slidenum">
              <a:rPr lang="ru-RU" altLang="ru-RU" sz="1100">
                <a:solidFill>
                  <a:srgbClr val="000000"/>
                </a:solidFill>
                <a:ea typeface="MS PGothic" pitchFamily="34" charset="-128"/>
              </a:rPr>
              <a:pPr>
                <a:spcBef>
                  <a:spcPct val="0"/>
                </a:spcBef>
              </a:pPr>
              <a:t>17</a:t>
            </a:fld>
            <a:endParaRPr lang="ru-RU" altLang="ru-RU" sz="1100">
              <a:solidFill>
                <a:srgbClr val="000000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01791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287462"/>
            <a:ext cx="4786062" cy="5511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5453063" y="1287462"/>
            <a:ext cx="4806950" cy="55118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‹#›</a:t>
            </a:fld>
            <a:endParaRPr lang="ru-RU"/>
          </a:p>
        </p:txBody>
      </p:sp>
      <p:sp>
        <p:nvSpPr>
          <p:cNvPr id="7" name="Rectangle 13"/>
          <p:cNvSpPr>
            <a:spLocks noChangeArrowheads="1"/>
          </p:cNvSpPr>
          <p:nvPr userDrawn="1"/>
        </p:nvSpPr>
        <p:spPr bwMode="auto">
          <a:xfrm>
            <a:off x="0" y="0"/>
            <a:ext cx="10693400" cy="11255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40000" dist="23000" dir="5400000" rotWithShape="0">
              <a:schemeClr val="accent1">
                <a:alpha val="34999"/>
              </a:schemeClr>
            </a:outerShdw>
          </a:effectLst>
          <a:extLst/>
        </p:spPr>
        <p:txBody>
          <a:bodyPr lIns="104290" tIns="52145" rIns="104290" bIns="52145" anchor="ctr"/>
          <a:lstStyle/>
          <a:p>
            <a:pPr algn="ctr" defTabSz="521450" eaLnBrk="1" hangingPunct="1">
              <a:defRPr/>
            </a:pPr>
            <a:endParaRPr lang="en-US" dirty="0">
              <a:solidFill>
                <a:prstClr val="white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3389" y="380370"/>
            <a:ext cx="9826625" cy="745168"/>
          </a:xfrm>
          <a:prstGeom prst="rect">
            <a:avLst/>
          </a:prstGeom>
        </p:spPr>
        <p:txBody>
          <a:bodyPr lIns="0" tIns="36000" rIns="0" bIns="0" anchor="t"/>
          <a:lstStyle>
            <a:lvl1pPr>
              <a:defRPr lang="en-US" sz="2400" b="1" dirty="0">
                <a:solidFill>
                  <a:schemeClr val="tx2"/>
                </a:solidFill>
                <a:latin typeface="Calibri" pitchFamily="34" charset="0"/>
                <a:cs typeface="Arial"/>
              </a:defRPr>
            </a:lvl1pPr>
          </a:lstStyle>
          <a:p>
            <a:pPr lvl="0" algn="l">
              <a:lnSpc>
                <a:spcPct val="80000"/>
              </a:lnSpc>
            </a:pPr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164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ran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3"/>
          <p:cNvSpPr>
            <a:spLocks noChangeArrowheads="1"/>
          </p:cNvSpPr>
          <p:nvPr userDrawn="1"/>
        </p:nvSpPr>
        <p:spPr bwMode="auto">
          <a:xfrm>
            <a:off x="0" y="0"/>
            <a:ext cx="10693400" cy="11255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>
            <a:outerShdw blurRad="40000" dist="23000" dir="5400000" rotWithShape="0">
              <a:schemeClr val="accent1">
                <a:alpha val="34999"/>
              </a:schemeClr>
            </a:outerShdw>
          </a:effectLst>
          <a:extLst/>
        </p:spPr>
        <p:txBody>
          <a:bodyPr lIns="104290" tIns="52145" rIns="104290" bIns="52145" anchor="ctr"/>
          <a:lstStyle/>
          <a:p>
            <a:pPr algn="ctr" defTabSz="521450" eaLnBrk="1" hangingPunct="1">
              <a:defRPr/>
            </a:pPr>
            <a:endParaRPr lang="en-US" dirty="0">
              <a:solidFill>
                <a:prstClr val="white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287463"/>
            <a:ext cx="9826625" cy="5499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spcBef>
                <a:spcPts val="0"/>
              </a:spcBef>
              <a:spcAft>
                <a:spcPts val="600"/>
              </a:spcAft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spcBef>
                <a:spcPts val="0"/>
              </a:spcBef>
              <a:spcAft>
                <a:spcPts val="600"/>
              </a:spcAft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spcBef>
                <a:spcPts val="0"/>
              </a:spcBef>
              <a:spcAft>
                <a:spcPts val="600"/>
              </a:spcAft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spcBef>
                <a:spcPts val="0"/>
              </a:spcBef>
              <a:spcAft>
                <a:spcPts val="600"/>
              </a:spcAft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3389" y="380370"/>
            <a:ext cx="9826625" cy="745168"/>
          </a:xfrm>
          <a:prstGeom prst="rect">
            <a:avLst/>
          </a:prstGeom>
        </p:spPr>
        <p:txBody>
          <a:bodyPr lIns="0" tIns="36000" rIns="0" bIns="0" anchor="t"/>
          <a:lstStyle>
            <a:lvl1pPr>
              <a:defRPr lang="en-US" sz="2400" b="1" dirty="0">
                <a:solidFill>
                  <a:schemeClr val="tx2"/>
                </a:solidFill>
                <a:latin typeface="Calibri" pitchFamily="34" charset="0"/>
                <a:cs typeface="Arial"/>
              </a:defRPr>
            </a:lvl1pPr>
          </a:lstStyle>
          <a:p>
            <a:pPr lvl="0" algn="l">
              <a:lnSpc>
                <a:spcPct val="80000"/>
              </a:lnSpc>
            </a:pPr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72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rang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3"/>
          <p:cNvSpPr>
            <a:spLocks noChangeArrowheads="1"/>
          </p:cNvSpPr>
          <p:nvPr userDrawn="1"/>
        </p:nvSpPr>
        <p:spPr bwMode="auto">
          <a:xfrm>
            <a:off x="0" y="0"/>
            <a:ext cx="10693400" cy="112553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40000" dist="23000" dir="5400000" rotWithShape="0">
              <a:schemeClr val="accent1">
                <a:alpha val="34999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 anchor="ctr"/>
          <a:lstStyle/>
          <a:p>
            <a:pPr algn="ctr" defTabSz="521450" eaLnBrk="1" hangingPunct="1">
              <a:defRPr/>
            </a:pPr>
            <a:endParaRPr lang="en-US" dirty="0">
              <a:solidFill>
                <a:prstClr val="white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287463"/>
            <a:ext cx="3132000" cy="5499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3780701" y="1287463"/>
            <a:ext cx="3132000" cy="5499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33389" y="402504"/>
            <a:ext cx="9826624" cy="723034"/>
          </a:xfrm>
          <a:prstGeom prst="rect">
            <a:avLst/>
          </a:prstGeom>
        </p:spPr>
        <p:txBody>
          <a:bodyPr lIns="0" tIns="36000" rIns="0" bIns="0" anchor="t"/>
          <a:lstStyle>
            <a:lvl1pPr>
              <a:defRPr lang="en-US" sz="2400" b="1" dirty="0">
                <a:solidFill>
                  <a:schemeClr val="tx2"/>
                </a:solidFill>
                <a:latin typeface="Calibri" pitchFamily="34" charset="0"/>
                <a:cs typeface="Arial"/>
              </a:defRPr>
            </a:lvl1pPr>
          </a:lstStyle>
          <a:p>
            <a:pPr lvl="0" algn="l">
              <a:lnSpc>
                <a:spcPct val="80000"/>
              </a:lnSpc>
            </a:pPr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6"/>
          </p:nvPr>
        </p:nvSpPr>
        <p:spPr>
          <a:xfrm>
            <a:off x="7128014" y="1287463"/>
            <a:ext cx="3132000" cy="54991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>
                <a:latin typeface="Calibri" pitchFamily="34" charset="0"/>
                <a:cs typeface="Arial"/>
              </a:defRPr>
            </a:lvl1pPr>
            <a:lvl2pPr marL="521450" indent="0">
              <a:buNone/>
              <a:defRPr sz="1100">
                <a:latin typeface="Calibri" pitchFamily="34" charset="0"/>
                <a:cs typeface="Arial"/>
              </a:defRPr>
            </a:lvl2pPr>
            <a:lvl3pPr marL="1042900" indent="0">
              <a:buNone/>
              <a:defRPr sz="1100">
                <a:latin typeface="Calibri" pitchFamily="34" charset="0"/>
                <a:cs typeface="Arial"/>
              </a:defRPr>
            </a:lvl3pPr>
            <a:lvl4pPr marL="1564348" indent="0">
              <a:buNone/>
              <a:defRPr sz="1100">
                <a:latin typeface="Calibri" pitchFamily="34" charset="0"/>
                <a:cs typeface="Arial"/>
              </a:defRPr>
            </a:lvl4pPr>
            <a:lvl5pPr marL="2085798" indent="0">
              <a:buNone/>
              <a:defRPr sz="1100">
                <a:latin typeface="Calibri" pitchFamily="34" charset="0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846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756248" y="5223951"/>
            <a:ext cx="5547069" cy="1973251"/>
          </a:xfrm>
          <a:prstGeom prst="rect">
            <a:avLst/>
          </a:prstGeom>
          <a:solidFill>
            <a:srgbClr val="0C377B"/>
          </a:solidFill>
        </p:spPr>
        <p:txBody>
          <a:bodyPr lIns="104290" tIns="52145" rIns="104290" bIns="52145"/>
          <a:lstStyle>
            <a:lvl1pPr marL="0" indent="0">
              <a:buNone/>
              <a:defRPr sz="2300">
                <a:solidFill>
                  <a:schemeClr val="bg1"/>
                </a:solidFill>
                <a:latin typeface="Calibri" pitchFamily="34" charset="0"/>
                <a:cs typeface="Arial"/>
              </a:defRPr>
            </a:lvl1pPr>
            <a:lvl2pPr marL="521450" indent="0">
              <a:buNone/>
              <a:defRPr sz="1000">
                <a:latin typeface="Arial"/>
                <a:cs typeface="Arial"/>
              </a:defRPr>
            </a:lvl2pPr>
            <a:lvl3pPr marL="1042900" indent="0">
              <a:buNone/>
              <a:defRPr sz="1000">
                <a:latin typeface="Arial"/>
                <a:cs typeface="Arial"/>
              </a:defRPr>
            </a:lvl3pPr>
            <a:lvl4pPr marL="1564348" indent="0">
              <a:buNone/>
              <a:defRPr sz="1000">
                <a:latin typeface="Arial"/>
                <a:cs typeface="Arial"/>
              </a:defRPr>
            </a:lvl4pPr>
            <a:lvl5pPr marL="2085798" indent="0">
              <a:buNone/>
              <a:defRPr sz="1000">
                <a:latin typeface="Arial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7919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0"/>
            <a:ext cx="9624060" cy="1260211"/>
          </a:xfrm>
          <a:prstGeom prst="rect">
            <a:avLst/>
          </a:prstGeom>
        </p:spPr>
        <p:txBody>
          <a:bodyPr lIns="87618" tIns="43809" rIns="87618" bIns="4380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4670" y="1764300"/>
            <a:ext cx="4722918" cy="4990084"/>
          </a:xfrm>
          <a:prstGeom prst="rect">
            <a:avLst/>
          </a:prstGeom>
        </p:spPr>
        <p:txBody>
          <a:bodyPr lIns="87618" tIns="43809" rIns="87618" bIns="43809"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35812" y="1764300"/>
            <a:ext cx="4722918" cy="4990084"/>
          </a:xfrm>
          <a:prstGeom prst="rect">
            <a:avLst/>
          </a:prstGeom>
        </p:spPr>
        <p:txBody>
          <a:bodyPr lIns="87618" tIns="43809" rIns="87618" bIns="43809"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08176"/>
            <a:ext cx="2495127" cy="402568"/>
          </a:xfrm>
          <a:prstGeom prst="rect">
            <a:avLst/>
          </a:prstGeom>
        </p:spPr>
        <p:txBody>
          <a:bodyPr lIns="87618" tIns="43809" rIns="87618" bIns="43809"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53579" y="7008176"/>
            <a:ext cx="3386243" cy="402568"/>
          </a:xfrm>
          <a:prstGeom prst="rect">
            <a:avLst/>
          </a:prstGeom>
        </p:spPr>
        <p:txBody>
          <a:bodyPr lIns="87618" tIns="43809" rIns="87618" bIns="43809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CD21FD-AC3F-4D6F-8EA4-38FAF8BDA5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6662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116824" tIns="58412" rIns="116824" bIns="58412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4670" y="1764300"/>
            <a:ext cx="9624060" cy="4990084"/>
          </a:xfrm>
          <a:prstGeom prst="rect">
            <a:avLst/>
          </a:prstGeom>
        </p:spPr>
        <p:txBody>
          <a:bodyPr lIns="116824" tIns="58412" rIns="116824" bIns="58412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08176"/>
            <a:ext cx="2495127" cy="402568"/>
          </a:xfrm>
          <a:prstGeom prst="rect">
            <a:avLst/>
          </a:prstGeom>
        </p:spPr>
        <p:txBody>
          <a:bodyPr lIns="116824" tIns="58412" rIns="116824" bIns="58412"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53579" y="7008176"/>
            <a:ext cx="3386243" cy="402568"/>
          </a:xfrm>
          <a:prstGeom prst="rect">
            <a:avLst/>
          </a:prstGeom>
        </p:spPr>
        <p:txBody>
          <a:bodyPr lIns="116824" tIns="58412" rIns="116824" bIns="58412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F0EF3-DE83-461B-AA29-2B1D127367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8027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604302_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756248" y="5223951"/>
            <a:ext cx="5547069" cy="1973251"/>
          </a:xfrm>
          <a:prstGeom prst="rect">
            <a:avLst/>
          </a:prstGeom>
          <a:solidFill>
            <a:srgbClr val="0C377B"/>
          </a:solidFill>
        </p:spPr>
        <p:txBody>
          <a:bodyPr lIns="104290" tIns="52145" rIns="104290" bIns="52145"/>
          <a:lstStyle>
            <a:lvl1pPr marL="0" indent="0">
              <a:buNone/>
              <a:defRPr sz="2300">
                <a:solidFill>
                  <a:schemeClr val="bg1"/>
                </a:solidFill>
                <a:latin typeface="Calibri" pitchFamily="34" charset="0"/>
                <a:cs typeface="Arial"/>
              </a:defRPr>
            </a:lvl1pPr>
            <a:lvl2pPr marL="521450" indent="0">
              <a:buNone/>
              <a:defRPr sz="1000">
                <a:latin typeface="Arial"/>
                <a:cs typeface="Arial"/>
              </a:defRPr>
            </a:lvl2pPr>
            <a:lvl3pPr marL="1042900" indent="0">
              <a:buNone/>
              <a:defRPr sz="1000">
                <a:latin typeface="Arial"/>
                <a:cs typeface="Arial"/>
              </a:defRPr>
            </a:lvl3pPr>
            <a:lvl4pPr marL="1564348" indent="0">
              <a:buNone/>
              <a:defRPr sz="1000">
                <a:latin typeface="Arial"/>
                <a:cs typeface="Arial"/>
              </a:defRPr>
            </a:lvl4pPr>
            <a:lvl5pPr marL="2085798" indent="0">
              <a:buNone/>
              <a:defRPr sz="1000">
                <a:latin typeface="Arial"/>
                <a:cs typeface="Arial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oovechkin001\Desktop\Desktop\Шкф\esk_rusgidro_i_kraskom_dogovorilis_o_sotrudnichestve_v_oblasti_zhkh.jpg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6" t="24129" r="7799" b="25838"/>
          <a:stretch>
            <a:fillRect/>
          </a:stretch>
        </p:blipFill>
        <p:spPr bwMode="auto">
          <a:xfrm>
            <a:off x="304466" y="429701"/>
            <a:ext cx="3568939" cy="1233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9966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Box 1"/>
          <p:cNvSpPr txBox="1">
            <a:spLocks noChangeArrowheads="1"/>
          </p:cNvSpPr>
          <p:nvPr/>
        </p:nvSpPr>
        <p:spPr bwMode="auto">
          <a:xfrm>
            <a:off x="-1058199" y="1899069"/>
            <a:ext cx="961663" cy="27458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srgbClr val="272727"/>
                </a:solidFill>
              </a:rPr>
              <a:t>255/255/255</a:t>
            </a:r>
            <a:endParaRPr lang="en-US" sz="1100">
              <a:solidFill>
                <a:srgbClr val="272727"/>
              </a:solidFill>
            </a:endParaRPr>
          </a:p>
        </p:txBody>
      </p:sp>
      <p:sp>
        <p:nvSpPr>
          <p:cNvPr id="1028" name="TextBox 4"/>
          <p:cNvSpPr txBox="1">
            <a:spLocks noChangeArrowheads="1"/>
          </p:cNvSpPr>
          <p:nvPr/>
        </p:nvSpPr>
        <p:spPr bwMode="auto">
          <a:xfrm>
            <a:off x="-1058199" y="3658112"/>
            <a:ext cx="961663" cy="274586"/>
          </a:xfrm>
          <a:prstGeom prst="rect">
            <a:avLst/>
          </a:prstGeom>
          <a:solidFill>
            <a:srgbClr val="3D5F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prstClr val="white"/>
                </a:solidFill>
              </a:rPr>
              <a:t>61/95/149</a:t>
            </a: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029" name="TextBox 5"/>
          <p:cNvSpPr txBox="1">
            <a:spLocks noChangeArrowheads="1"/>
          </p:cNvSpPr>
          <p:nvPr/>
        </p:nvSpPr>
        <p:spPr bwMode="auto">
          <a:xfrm>
            <a:off x="-1058199" y="4011672"/>
            <a:ext cx="961663" cy="274586"/>
          </a:xfrm>
          <a:prstGeom prst="rect">
            <a:avLst/>
          </a:prstGeom>
          <a:solidFill>
            <a:srgbClr val="6D87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prstClr val="white"/>
                </a:solidFill>
              </a:rPr>
              <a:t>109/135/176</a:t>
            </a: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030" name="TextBox 6"/>
          <p:cNvSpPr txBox="1">
            <a:spLocks noChangeArrowheads="1"/>
          </p:cNvSpPr>
          <p:nvPr/>
        </p:nvSpPr>
        <p:spPr bwMode="auto">
          <a:xfrm>
            <a:off x="-1058199" y="4363480"/>
            <a:ext cx="961663" cy="274586"/>
          </a:xfrm>
          <a:prstGeom prst="rect">
            <a:avLst/>
          </a:prstGeom>
          <a:solidFill>
            <a:srgbClr val="9EAF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srgbClr val="272727"/>
                </a:solidFill>
              </a:rPr>
              <a:t>158/175/202</a:t>
            </a:r>
            <a:endParaRPr lang="en-US" sz="1100">
              <a:solidFill>
                <a:srgbClr val="272727"/>
              </a:solidFill>
            </a:endParaRPr>
          </a:p>
        </p:txBody>
      </p:sp>
      <p:sp>
        <p:nvSpPr>
          <p:cNvPr id="1031" name="TextBox 7"/>
          <p:cNvSpPr txBox="1">
            <a:spLocks noChangeArrowheads="1"/>
          </p:cNvSpPr>
          <p:nvPr/>
        </p:nvSpPr>
        <p:spPr bwMode="auto">
          <a:xfrm>
            <a:off x="-1058199" y="4717040"/>
            <a:ext cx="961663" cy="274586"/>
          </a:xfrm>
          <a:prstGeom prst="rect">
            <a:avLst/>
          </a:prstGeom>
          <a:solidFill>
            <a:srgbClr val="CED7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srgbClr val="272727"/>
                </a:solidFill>
              </a:rPr>
              <a:t>206/215/229</a:t>
            </a:r>
            <a:endParaRPr lang="en-US" sz="1100">
              <a:solidFill>
                <a:srgbClr val="272727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058199" y="5067098"/>
            <a:ext cx="961663" cy="274586"/>
          </a:xfrm>
          <a:prstGeom prst="rect">
            <a:avLst/>
          </a:prstGeom>
          <a:solidFill>
            <a:schemeClr val="accent6"/>
          </a:solidFill>
        </p:spPr>
        <p:txBody>
          <a:bodyPr lIns="104290" tIns="52145" rIns="104290" bIns="52145">
            <a:spAutoFit/>
          </a:bodyPr>
          <a:lstStyle/>
          <a:p>
            <a:pPr algn="ctr" defTabSz="521450" eaLnBrk="1" hangingPunct="1">
              <a:defRPr/>
            </a:pPr>
            <a:r>
              <a:rPr lang="ru-RU" sz="1100" dirty="0">
                <a:solidFill>
                  <a:prstClr val="white"/>
                </a:solidFill>
                <a:latin typeface="Calibri" pitchFamily="34" charset="0"/>
                <a:ea typeface="MS PGothic" pitchFamily="34" charset="-128"/>
                <a:cs typeface="Arial" charset="0"/>
              </a:rPr>
              <a:t>220/90/32</a:t>
            </a:r>
            <a:endParaRPr lang="en-US" sz="1100" dirty="0">
              <a:solidFill>
                <a:prstClr val="white"/>
              </a:solidFill>
              <a:latin typeface="Calibri" pitchFamily="34" charset="0"/>
              <a:ea typeface="MS PGothic" pitchFamily="34" charset="-128"/>
              <a:cs typeface="Arial" charset="0"/>
            </a:endParaRP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>
            <a:off x="-1058199" y="2250877"/>
            <a:ext cx="961663" cy="274586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prstClr val="white"/>
                </a:solidFill>
              </a:rPr>
              <a:t>80/81/80</a:t>
            </a: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034" name="TextBox 10"/>
          <p:cNvSpPr txBox="1">
            <a:spLocks noChangeArrowheads="1"/>
          </p:cNvSpPr>
          <p:nvPr/>
        </p:nvSpPr>
        <p:spPr bwMode="auto">
          <a:xfrm>
            <a:off x="-1058199" y="2604436"/>
            <a:ext cx="961663" cy="274586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srgbClr val="272727"/>
                </a:solidFill>
              </a:rPr>
              <a:t>192/193/191</a:t>
            </a:r>
            <a:endParaRPr lang="en-US" sz="1100">
              <a:solidFill>
                <a:srgbClr val="272727"/>
              </a:solidFill>
            </a:endParaRPr>
          </a:p>
        </p:txBody>
      </p:sp>
      <p:sp>
        <p:nvSpPr>
          <p:cNvPr id="1035" name="TextBox 11"/>
          <p:cNvSpPr txBox="1">
            <a:spLocks noChangeArrowheads="1"/>
          </p:cNvSpPr>
          <p:nvPr/>
        </p:nvSpPr>
        <p:spPr bwMode="auto">
          <a:xfrm>
            <a:off x="-1058199" y="2957996"/>
            <a:ext cx="961663" cy="27458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ru-RU" sz="1100">
                <a:solidFill>
                  <a:prstClr val="white"/>
                </a:solidFill>
              </a:rPr>
              <a:t>39/39/39</a:t>
            </a:r>
            <a:endParaRPr lang="en-US" sz="1100">
              <a:solidFill>
                <a:prstClr val="white"/>
              </a:solidFill>
            </a:endParaRPr>
          </a:p>
        </p:txBody>
      </p:sp>
      <p:sp>
        <p:nvSpPr>
          <p:cNvPr id="1036" name="TextBox 12"/>
          <p:cNvSpPr txBox="1">
            <a:spLocks noChangeArrowheads="1"/>
          </p:cNvSpPr>
          <p:nvPr/>
        </p:nvSpPr>
        <p:spPr bwMode="auto">
          <a:xfrm>
            <a:off x="-1058199" y="3306304"/>
            <a:ext cx="961663" cy="27458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90" tIns="52145" rIns="104290" bIns="52145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defTabSz="521450" eaLnBrk="1" hangingPunct="1">
              <a:defRPr/>
            </a:pPr>
            <a:r>
              <a:rPr lang="en-US" sz="1100">
                <a:solidFill>
                  <a:prstClr val="white"/>
                </a:solidFill>
              </a:rPr>
              <a:t>12/55/123</a:t>
            </a:r>
          </a:p>
        </p:txBody>
      </p:sp>
      <p:cxnSp>
        <p:nvCxnSpPr>
          <p:cNvPr id="13" name="Straight Connector 38"/>
          <p:cNvCxnSpPr/>
          <p:nvPr userDrawn="1"/>
        </p:nvCxnSpPr>
        <p:spPr>
          <a:xfrm flipV="1">
            <a:off x="295185" y="7020044"/>
            <a:ext cx="10103035" cy="0"/>
          </a:xfrm>
          <a:prstGeom prst="line">
            <a:avLst/>
          </a:prstGeom>
          <a:ln w="19050" cmpd="sng">
            <a:solidFill>
              <a:schemeClr val="accent6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7902669" y="7127721"/>
            <a:ext cx="2495550" cy="15388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>
              <a:defRPr lang="en-US" sz="1000" smtClean="0">
                <a:solidFill>
                  <a:srgbClr val="898989"/>
                </a:solidFill>
              </a:defRPr>
            </a:lvl1pPr>
          </a:lstStyle>
          <a:p>
            <a:pPr algn="r" defTabSz="1042900"/>
            <a:fld id="{EA766A79-AB32-43AD-AE8B-DD41AB112B75}" type="slidenum">
              <a:rPr lang="ru-RU" smtClean="0"/>
              <a:pPr algn="r" defTabSz="1042900"/>
              <a:t>‹#›</a:t>
            </a:fld>
            <a:endParaRPr lang="ru-RU"/>
          </a:p>
        </p:txBody>
      </p:sp>
      <p:pic>
        <p:nvPicPr>
          <p:cNvPr id="17" name="Picture 2" descr="C:\Users\oovechkin001\Desktop\Desktop\Шкф\esk_rusgidro_i_kraskom_dogovorilis_o_sotrudnichestve_v_oblasti_zhkh.jpg"/>
          <p:cNvPicPr>
            <a:picLocks noChangeAspect="1" noChangeArrowheads="1"/>
          </p:cNvPicPr>
          <p:nvPr userDrawn="1"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6" t="24129" r="7799" b="25838"/>
          <a:stretch>
            <a:fillRect/>
          </a:stretch>
        </p:blipFill>
        <p:spPr bwMode="auto">
          <a:xfrm>
            <a:off x="295185" y="7091353"/>
            <a:ext cx="655633" cy="22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794" r:id="rId1"/>
    <p:sldLayoutId id="2147485795" r:id="rId2"/>
    <p:sldLayoutId id="2147485796" r:id="rId3"/>
    <p:sldLayoutId id="2147485799" r:id="rId4"/>
    <p:sldLayoutId id="2147485801" r:id="rId5"/>
    <p:sldLayoutId id="2147485804" r:id="rId6"/>
    <p:sldLayoutId id="2147485805" r:id="rId7"/>
  </p:sldLayoutIdLst>
  <p:hf hdr="0" ftr="0" dt="0"/>
  <p:txStyles>
    <p:titleStyle>
      <a:lvl1pPr algn="ctr" defTabSz="521450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Arial" charset="0"/>
          <a:ea typeface="MS PGothic" pitchFamily="34" charset="-128"/>
          <a:cs typeface="+mj-cs"/>
        </a:defRPr>
      </a:lvl1pPr>
      <a:lvl2pPr algn="ctr" defTabSz="5214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  <a:ea typeface="MS PGothic" pitchFamily="34" charset="-128"/>
        </a:defRPr>
      </a:lvl2pPr>
      <a:lvl3pPr algn="ctr" defTabSz="5214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  <a:ea typeface="MS PGothic" pitchFamily="34" charset="-128"/>
        </a:defRPr>
      </a:lvl3pPr>
      <a:lvl4pPr algn="ctr" defTabSz="5214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  <a:ea typeface="MS PGothic" pitchFamily="34" charset="-128"/>
        </a:defRPr>
      </a:lvl4pPr>
      <a:lvl5pPr algn="ctr" defTabSz="52145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  <a:ea typeface="MS PGothic" pitchFamily="34" charset="-128"/>
        </a:defRPr>
      </a:lvl5pPr>
      <a:lvl6pPr marL="521450" algn="ctr" defTabSz="52145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</a:defRPr>
      </a:lvl6pPr>
      <a:lvl7pPr marL="1042900" algn="ctr" defTabSz="52145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</a:defRPr>
      </a:lvl7pPr>
      <a:lvl8pPr marL="1564348" algn="ctr" defTabSz="52145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</a:defRPr>
      </a:lvl8pPr>
      <a:lvl9pPr marL="2085798" algn="ctr" defTabSz="52145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Arial" charset="0"/>
        </a:defRPr>
      </a:lvl9pPr>
    </p:titleStyle>
    <p:bodyStyle>
      <a:lvl1pPr marL="391087" indent="-391087" algn="l" defTabSz="5214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700" kern="1200">
          <a:solidFill>
            <a:schemeClr val="tx1"/>
          </a:solidFill>
          <a:latin typeface="Arial" charset="0"/>
          <a:ea typeface="MS PGothic" pitchFamily="34" charset="-128"/>
          <a:cs typeface="+mn-cs"/>
        </a:defRPr>
      </a:lvl1pPr>
      <a:lvl2pPr marL="847355" indent="-325906" algn="l" defTabSz="5214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Arial" charset="0"/>
          <a:ea typeface="MS PGothic" pitchFamily="34" charset="-128"/>
          <a:cs typeface="+mn-cs"/>
        </a:defRPr>
      </a:lvl2pPr>
      <a:lvl3pPr marL="1303625" indent="-260725" algn="l" defTabSz="5214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Arial" charset="0"/>
          <a:ea typeface="MS PGothic" pitchFamily="34" charset="-128"/>
          <a:cs typeface="+mn-cs"/>
        </a:defRPr>
      </a:lvl3pPr>
      <a:lvl4pPr marL="1825073" indent="-260725" algn="l" defTabSz="5214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Arial" charset="0"/>
          <a:ea typeface="MS PGothic" pitchFamily="34" charset="-128"/>
          <a:cs typeface="+mn-cs"/>
        </a:defRPr>
      </a:lvl4pPr>
      <a:lvl5pPr marL="2346523" indent="-260725" algn="l" defTabSz="52145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Arial" charset="0"/>
          <a:ea typeface="MS PGothic" pitchFamily="34" charset="-128"/>
          <a:cs typeface="+mn-cs"/>
        </a:defRPr>
      </a:lvl5pPr>
      <a:lvl6pPr marL="2867973" indent="-260725" algn="l" defTabSz="521450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423" indent="-260725" algn="l" defTabSz="521450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873" indent="-260725" algn="l" defTabSz="521450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321" indent="-260725" algn="l" defTabSz="521450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50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900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4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9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24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9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14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598" algn="l" defTabSz="104290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7.png"/><Relationship Id="rId7" Type="http://schemas.openxmlformats.org/officeDocument/2006/relationships/image" Target="../media/image50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openxmlformats.org/officeDocument/2006/relationships/image" Target="../media/image53.png"/><Relationship Id="rId5" Type="http://schemas.microsoft.com/office/2007/relationships/hdphoto" Target="../media/hdphoto4.wdp"/><Relationship Id="rId10" Type="http://schemas.microsoft.com/office/2007/relationships/hdphoto" Target="../media/hdphoto5.wdp"/><Relationship Id="rId4" Type="http://schemas.openxmlformats.org/officeDocument/2006/relationships/image" Target="../media/image48.png"/><Relationship Id="rId9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image" Target="../media/image5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3.png"/><Relationship Id="rId4" Type="http://schemas.openxmlformats.org/officeDocument/2006/relationships/tags" Target="../tags/tag12.xml"/><Relationship Id="rId9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5.png"/><Relationship Id="rId5" Type="http://schemas.openxmlformats.org/officeDocument/2006/relationships/image" Target="../media/image20.png"/><Relationship Id="rId10" Type="http://schemas.openxmlformats.org/officeDocument/2006/relationships/image" Target="../media/image24.png"/><Relationship Id="rId4" Type="http://schemas.openxmlformats.org/officeDocument/2006/relationships/image" Target="../media/image19.pn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hyperlink" Target="http://www.rushydro.ru/form/" TargetMode="External"/><Relationship Id="rId7" Type="http://schemas.openxmlformats.org/officeDocument/2006/relationships/image" Target="../media/image30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microsoft.com/office/2007/relationships/hdphoto" Target="../media/hdphoto3.wdp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70797" cy="175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70797" cy="17502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Content Placeholder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660712" y="4230502"/>
            <a:ext cx="6389315" cy="2622684"/>
          </a:xfrm>
          <a:prstGeom prst="rect">
            <a:avLst/>
          </a:prstGeom>
          <a:solidFill>
            <a:schemeClr val="accent6"/>
          </a:solidFill>
          <a:ln>
            <a:noFill/>
          </a:ln>
          <a:extLst/>
        </p:spPr>
        <p:txBody>
          <a:bodyPr lIns="104290" tIns="52145" rIns="104290" bIns="52145"/>
          <a:lstStyle>
            <a:lvl1pPr defTabSz="4572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ts val="684"/>
              </a:spcBef>
            </a:pPr>
            <a:endParaRPr lang="ru-RU" altLang="ru-RU" sz="4600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3556" name="Content Placeholder 1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3922392" y="4612521"/>
            <a:ext cx="6454716" cy="2572652"/>
          </a:xfrm>
          <a:solidFill>
            <a:schemeClr val="accent4">
              <a:lumMod val="40000"/>
              <a:lumOff val="60000"/>
            </a:schemeClr>
          </a:solidFill>
        </p:spPr>
        <p:txBody>
          <a:bodyPr/>
          <a:lstStyle/>
          <a:p>
            <a:pPr>
              <a:buFont typeface="Arial" charset="0"/>
              <a:buNone/>
              <a:defRPr/>
            </a:pPr>
            <a:endParaRPr lang="en-US" altLang="ru-RU" dirty="0" smtClean="0"/>
          </a:p>
          <a:p>
            <a:pPr>
              <a:buFont typeface="Arial" charset="0"/>
              <a:buNone/>
              <a:defRPr/>
            </a:pPr>
            <a:endParaRPr lang="en-US" altLang="ru-RU" dirty="0" smtClean="0"/>
          </a:p>
          <a:p>
            <a:pPr>
              <a:buFont typeface="Arial" charset="0"/>
              <a:buNone/>
              <a:defRPr/>
            </a:pPr>
            <a:endParaRPr lang="ru-RU" altLang="ru-RU" dirty="0" smtClean="0"/>
          </a:p>
          <a:p>
            <a:pPr>
              <a:buFont typeface="Arial" charset="0"/>
              <a:buNone/>
              <a:defRPr/>
            </a:pPr>
            <a:endParaRPr lang="en-US" altLang="ru-RU" dirty="0" smtClean="0"/>
          </a:p>
        </p:txBody>
      </p:sp>
      <p:sp>
        <p:nvSpPr>
          <p:cNvPr id="10245" name="TextBox 2"/>
          <p:cNvSpPr txBox="1">
            <a:spLocks noChangeArrowheads="1"/>
          </p:cNvSpPr>
          <p:nvPr/>
        </p:nvSpPr>
        <p:spPr bwMode="auto">
          <a:xfrm>
            <a:off x="3905250" y="4604990"/>
            <a:ext cx="6457950" cy="2198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4290" tIns="52145" rIns="104290" bIns="52145">
            <a:spAutoFit/>
          </a:bodyPr>
          <a:lstStyle>
            <a:lvl1pPr defTabSz="9445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45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0"/>
              </a:spcBef>
              <a:spcAft>
                <a:spcPts val="0"/>
              </a:spcAft>
            </a:pPr>
            <a:endParaRPr lang="ru-RU" altLang="ru-RU" sz="1600" b="1" dirty="0">
              <a:solidFill>
                <a:schemeClr val="tx2"/>
              </a:solidFill>
              <a:latin typeface="+mj-lt"/>
            </a:endParaRP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endParaRPr lang="ru-RU" altLang="ru-RU" sz="20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r>
              <a:rPr lang="ru-RU" altLang="ru-RU" sz="2000" b="1" dirty="0" smtClean="0">
                <a:solidFill>
                  <a:schemeClr val="tx2"/>
                </a:solidFill>
                <a:latin typeface="Calibri" pitchFamily="34" charset="0"/>
              </a:rPr>
              <a:t>Начальник отдела закупок Филиала ПАО «РусГидро», </a:t>
            </a: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r>
              <a:rPr lang="ru-RU" altLang="ru-RU" sz="2000" b="1" dirty="0" smtClean="0">
                <a:solidFill>
                  <a:schemeClr val="tx2"/>
                </a:solidFill>
                <a:latin typeface="Calibri" pitchFamily="34" charset="0"/>
              </a:rPr>
              <a:t>Дагестанский Филиал</a:t>
            </a: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r>
              <a:rPr lang="ru-RU" altLang="ru-RU" sz="2000" b="1" dirty="0" smtClean="0">
                <a:solidFill>
                  <a:schemeClr val="tx2"/>
                </a:solidFill>
                <a:latin typeface="Calibri" pitchFamily="34" charset="0"/>
              </a:rPr>
              <a:t>М.М. Мусалаев</a:t>
            </a:r>
            <a:endParaRPr lang="ru-RU" altLang="ru-RU" sz="2000" b="1" dirty="0">
              <a:solidFill>
                <a:schemeClr val="tx2"/>
              </a:solidFill>
              <a:latin typeface="Calibri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endParaRPr lang="ru-RU" altLang="ru-RU" sz="2000" b="1" dirty="0">
              <a:solidFill>
                <a:schemeClr val="tx2"/>
              </a:solidFill>
              <a:latin typeface="Calibri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0"/>
              </a:spcAft>
            </a:pPr>
            <a:r>
              <a:rPr lang="ru-RU" altLang="ru-RU" sz="1600" dirty="0" smtClean="0">
                <a:solidFill>
                  <a:schemeClr val="tx2"/>
                </a:solidFill>
                <a:latin typeface="Calibri" pitchFamily="34" charset="0"/>
              </a:rPr>
              <a:t>18 декабря 2017 г. </a:t>
            </a:r>
            <a:endParaRPr lang="ru-RU" altLang="ru-RU" sz="1600" dirty="0">
              <a:solidFill>
                <a:schemeClr val="tx2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30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Стимулирование справедливой конкуренции участников рынка, минимизация закупок у единственного источник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0</a:t>
            </a:fld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291224" y="1288434"/>
            <a:ext cx="485922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defRPr/>
            </a:pPr>
            <a:r>
              <a:rPr lang="ru-RU" sz="1400" b="1" u="sng" kern="0" dirty="0" smtClean="0">
                <a:solidFill>
                  <a:prstClr val="black"/>
                </a:solidFill>
              </a:rPr>
              <a:t>Примеры лотов, с особенно высокой конкуренцией:</a:t>
            </a:r>
            <a:endParaRPr lang="ru-RU" sz="1400" b="1" u="sng" kern="0" dirty="0">
              <a:solidFill>
                <a:prstClr val="black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793675" y="1934405"/>
            <a:ext cx="3282580" cy="62855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е обслуживание комплексной системы безопасности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гестанского Филиала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790851" y="1751548"/>
            <a:ext cx="2265917" cy="186542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2-ТО-2016-ДФ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174675" y="1934405"/>
            <a:ext cx="1605179" cy="656672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722 384 руб.</a:t>
            </a:r>
          </a:p>
          <a:p>
            <a:pPr algn="ctr"/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лановая цена)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952182" y="2137667"/>
            <a:ext cx="1184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</a:rPr>
              <a:t>8</a:t>
            </a:r>
            <a:r>
              <a:rPr lang="ru-RU" sz="1200" b="1" dirty="0" smtClean="0">
                <a:solidFill>
                  <a:schemeClr val="tx2"/>
                </a:solidFill>
              </a:rPr>
              <a:t> участников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31" name="clipart_drawncirclered"/>
          <p:cNvSpPr>
            <a:spLocks/>
          </p:cNvSpPr>
          <p:nvPr>
            <p:custDataLst>
              <p:tags r:id="rId1"/>
            </p:custDataLst>
          </p:nvPr>
        </p:nvSpPr>
        <p:spPr bwMode="gray">
          <a:xfrm rot="10800000">
            <a:off x="8897920" y="2001460"/>
            <a:ext cx="1432668" cy="539027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793675" y="2855082"/>
            <a:ext cx="3282580" cy="39060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роекта создания системы обеспечения единого времени 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инхронизации..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790851" y="2681790"/>
            <a:ext cx="2265917" cy="176975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28-ТПиР-ПИР-2016-ДФ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165250" y="2855082"/>
            <a:ext cx="1614603" cy="390603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900 000 руб.</a:t>
            </a:r>
          </a:p>
          <a:p>
            <a:pPr algn="ctr"/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лановая цена)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923901" y="2910504"/>
            <a:ext cx="12609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</a:rPr>
              <a:t>11 участников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36" name="clipart_drawncirclered"/>
          <p:cNvSpPr>
            <a:spLocks/>
          </p:cNvSpPr>
          <p:nvPr>
            <p:custDataLst>
              <p:tags r:id="rId2"/>
            </p:custDataLst>
          </p:nvPr>
        </p:nvSpPr>
        <p:spPr bwMode="gray">
          <a:xfrm rot="10800000">
            <a:off x="8923957" y="2797522"/>
            <a:ext cx="1404388" cy="50674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793675" y="3537803"/>
            <a:ext cx="3282580" cy="39060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зданий и сооружений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ркейской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ЭС,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рганайской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ЭС и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нибской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ЭС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790854" y="3331430"/>
            <a:ext cx="2265914" cy="210057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1-РЕМ-2017-ДФ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165255" y="3537803"/>
            <a:ext cx="1614598" cy="390603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397 749 руб.</a:t>
            </a:r>
          </a:p>
          <a:p>
            <a:pPr algn="ctr"/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лановая цена)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8923907" y="3629431"/>
            <a:ext cx="1184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tx2"/>
                </a:solidFill>
              </a:rPr>
              <a:t>7</a:t>
            </a:r>
            <a:r>
              <a:rPr lang="ru-RU" sz="1200" b="1" dirty="0" smtClean="0">
                <a:solidFill>
                  <a:schemeClr val="tx2"/>
                </a:solidFill>
              </a:rPr>
              <a:t> участников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41" name="clipart_drawncirclered"/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8869645" y="3525889"/>
            <a:ext cx="1465202" cy="49730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33389" y="1367073"/>
            <a:ext cx="2814568" cy="5441131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 smtClean="0">
                <a:solidFill>
                  <a:schemeClr val="bg1"/>
                </a:solidFill>
              </a:rPr>
              <a:t>За </a:t>
            </a:r>
            <a:r>
              <a:rPr lang="ru-RU" sz="1600" dirty="0">
                <a:solidFill>
                  <a:schemeClr val="bg1"/>
                </a:solidFill>
              </a:rPr>
              <a:t>2016 год </a:t>
            </a:r>
            <a:r>
              <a:rPr lang="ru-RU" sz="1600" dirty="0" smtClean="0">
                <a:solidFill>
                  <a:schemeClr val="bg1"/>
                </a:solidFill>
              </a:rPr>
              <a:t>количество </a:t>
            </a:r>
            <a:r>
              <a:rPr lang="ru-RU" sz="1600" dirty="0">
                <a:solidFill>
                  <a:schemeClr val="bg1"/>
                </a:solidFill>
              </a:rPr>
              <a:t>участников закупочных процедур </a:t>
            </a:r>
            <a:r>
              <a:rPr lang="ru-RU" sz="1600" dirty="0" smtClean="0">
                <a:solidFill>
                  <a:schemeClr val="bg1"/>
                </a:solidFill>
              </a:rPr>
              <a:t>по ПАО «РусГидро» составило</a:t>
            </a:r>
            <a:r>
              <a:rPr lang="ru-RU" sz="1600" b="1" dirty="0" smtClean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в </a:t>
            </a:r>
            <a:r>
              <a:rPr lang="ru-RU" sz="1600" b="1" dirty="0" smtClean="0">
                <a:solidFill>
                  <a:schemeClr val="bg1"/>
                </a:solidFill>
              </a:rPr>
              <a:t>среднем </a:t>
            </a:r>
            <a:r>
              <a:rPr lang="ru-RU" sz="2400" b="1" dirty="0" smtClean="0">
                <a:solidFill>
                  <a:schemeClr val="accent6"/>
                </a:solidFill>
              </a:rPr>
              <a:t>4,1</a:t>
            </a:r>
            <a:r>
              <a:rPr lang="ru-RU" sz="1600" b="1" dirty="0" smtClean="0">
                <a:solidFill>
                  <a:schemeClr val="bg1"/>
                </a:solidFill>
              </a:rPr>
              <a:t> </a:t>
            </a:r>
            <a:r>
              <a:rPr lang="ru-RU" sz="1600" b="1" dirty="0">
                <a:solidFill>
                  <a:schemeClr val="bg1"/>
                </a:solidFill>
              </a:rPr>
              <a:t>участника в рамках одной </a:t>
            </a:r>
            <a:r>
              <a:rPr lang="ru-RU" sz="1600" b="1" dirty="0" smtClean="0">
                <a:solidFill>
                  <a:schemeClr val="bg1"/>
                </a:solidFill>
              </a:rPr>
              <a:t>закупки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600" b="1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600" b="1" dirty="0" smtClean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 smtClean="0">
                <a:solidFill>
                  <a:schemeClr val="bg1"/>
                </a:solidFill>
              </a:rPr>
              <a:t>По закупкам для нужд Дагестанского Филиала </a:t>
            </a:r>
            <a:r>
              <a:rPr lang="ru-RU" sz="2400" b="1" dirty="0">
                <a:solidFill>
                  <a:schemeClr val="accent6"/>
                </a:solidFill>
              </a:rPr>
              <a:t>3,2</a:t>
            </a:r>
            <a:r>
              <a:rPr lang="ru-RU" sz="1600" b="1" dirty="0" smtClean="0">
                <a:solidFill>
                  <a:schemeClr val="accent6"/>
                </a:solidFill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</a:rPr>
              <a:t>участника </a:t>
            </a:r>
            <a:r>
              <a:rPr lang="ru-RU" sz="1400" b="1" dirty="0">
                <a:solidFill>
                  <a:schemeClr val="bg1"/>
                </a:solidFill>
              </a:rPr>
              <a:t>в рамках одной </a:t>
            </a:r>
            <a:r>
              <a:rPr lang="ru-RU" sz="1400" b="1" dirty="0" smtClean="0">
                <a:solidFill>
                  <a:schemeClr val="bg1"/>
                </a:solidFill>
              </a:rPr>
              <a:t>закупки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400" b="1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400" b="1" dirty="0" smtClean="0">
                <a:solidFill>
                  <a:schemeClr val="bg1"/>
                </a:solidFill>
              </a:rPr>
              <a:t>По результатам  мониторинга Минфина на 2017г. Среднее количество поданных заявок на участие в закупках по 223-ФЗ составило </a:t>
            </a:r>
            <a:r>
              <a:rPr lang="ru-RU" sz="2400" b="1" dirty="0">
                <a:solidFill>
                  <a:schemeClr val="accent6"/>
                </a:solidFill>
              </a:rPr>
              <a:t>1,73</a:t>
            </a:r>
          </a:p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4" name="Стрелка вправо 23"/>
          <p:cNvSpPr/>
          <p:nvPr/>
        </p:nvSpPr>
        <p:spPr>
          <a:xfrm>
            <a:off x="3392005" y="2436751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6492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Достижение экономического эффек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1</a:t>
            </a:fld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3895559" y="3654231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6201" y="1267294"/>
            <a:ext cx="3526653" cy="5640309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>
                <a:solidFill>
                  <a:schemeClr val="bg1"/>
                </a:solidFill>
              </a:rPr>
              <a:t>Закупочная деятельность Группы РусГидро направлена на достижение экономического эффекта, с учетом потребительских характеристик продукции, необходимой для обеспечения потребностей Заказчиков. Экономия складывается из того, что итоговые ценовые предложения участников меньше стартовой цены.  А добиться этого возможно только работая с потенциальными подрядчиками. </a:t>
            </a:r>
            <a:endParaRPr lang="ru-RU" sz="1600" dirty="0" smtClean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600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>
                <a:solidFill>
                  <a:schemeClr val="bg1"/>
                </a:solidFill>
              </a:rPr>
              <a:t>Общий размер экономии по результатам закупок за прошедшие 9 месяцев 2016 года составляет </a:t>
            </a:r>
            <a:r>
              <a:rPr lang="ru-RU" sz="1600" dirty="0" smtClean="0">
                <a:solidFill>
                  <a:schemeClr val="bg1"/>
                </a:solidFill>
              </a:rPr>
              <a:t>предварительно </a:t>
            </a:r>
            <a:r>
              <a:rPr lang="ru-RU" b="1" u="sng" dirty="0" smtClean="0">
                <a:solidFill>
                  <a:srgbClr val="DC5A20"/>
                </a:solidFill>
              </a:rPr>
              <a:t>9,4 </a:t>
            </a:r>
            <a:r>
              <a:rPr lang="ru-RU" b="1" u="sng" dirty="0">
                <a:solidFill>
                  <a:srgbClr val="DC5A20"/>
                </a:solidFill>
              </a:rPr>
              <a:t>млрд руб</a:t>
            </a:r>
            <a:r>
              <a:rPr lang="ru-RU" b="1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306216" y="2445064"/>
            <a:ext cx="3284628" cy="61460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Реконструкция системы вентиляции в камерах линейного натяжения и бортовых штольнях </a:t>
            </a:r>
            <a:r>
              <a:rPr lang="ru-RU" sz="12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ркейской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ЭС"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306216" y="2243686"/>
            <a:ext cx="2167012" cy="205063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 11-ТПиР-2016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671221" y="2445065"/>
            <a:ext cx="691856" cy="458054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2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9229185" y="2609307"/>
            <a:ext cx="11560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000" b="1" dirty="0" smtClean="0">
                <a:solidFill>
                  <a:srgbClr val="FF0000"/>
                </a:solidFill>
              </a:rPr>
              <a:t>2,5 млн. руб.</a:t>
            </a:r>
          </a:p>
        </p:txBody>
      </p:sp>
      <p:sp>
        <p:nvSpPr>
          <p:cNvPr id="51" name="clipart_drawncirclered"/>
          <p:cNvSpPr>
            <a:spLocks/>
          </p:cNvSpPr>
          <p:nvPr>
            <p:custDataLst>
              <p:tags r:id="rId1"/>
            </p:custDataLst>
          </p:nvPr>
        </p:nvSpPr>
        <p:spPr bwMode="gray">
          <a:xfrm rot="10800000">
            <a:off x="9190908" y="2386439"/>
            <a:ext cx="1345272" cy="56960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306216" y="3351668"/>
            <a:ext cx="3269494" cy="67472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Генераторное распределительное устройство ГРУ-15,75кВ. Изготовление, поставка, шеф-монтаж»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306216" y="3187287"/>
            <a:ext cx="2167012" cy="168065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-НС-2016-ЗарГЭС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306216" y="4480764"/>
            <a:ext cx="3269494" cy="70541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омплектное распределительное устройство (КРУЭ) 330кВ. Изготовление, поставка, шефмонтаж»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4306216" y="4295269"/>
            <a:ext cx="2167012" cy="189179"/>
          </a:xfrm>
          <a:prstGeom prst="rect">
            <a:avLst/>
          </a:prstGeom>
          <a:solidFill>
            <a:srgbClr val="DC5A2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-НС-2016-ЗарГЭС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306217" y="5671275"/>
            <a:ext cx="516769" cy="142466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endParaRPr lang="ru-RU" sz="10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8458588" y="2445065"/>
            <a:ext cx="691856" cy="458054"/>
          </a:xfrm>
          <a:prstGeom prst="rect">
            <a:avLst/>
          </a:prstGeom>
          <a:solidFill>
            <a:srgbClr val="92D05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,7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9486621" y="2406133"/>
            <a:ext cx="6399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rgbClr val="FF0000"/>
                </a:solidFill>
              </a:rPr>
              <a:t>30%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671221" y="3348058"/>
            <a:ext cx="691856" cy="678335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2,4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9229185" y="3645382"/>
            <a:ext cx="122661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000" b="1" dirty="0" smtClean="0">
                <a:solidFill>
                  <a:srgbClr val="FF0000"/>
                </a:solidFill>
              </a:rPr>
              <a:t>57,4 млн. руб.</a:t>
            </a:r>
          </a:p>
        </p:txBody>
      </p:sp>
      <p:sp>
        <p:nvSpPr>
          <p:cNvPr id="67" name="clipart_drawncirclered"/>
          <p:cNvSpPr>
            <a:spLocks/>
          </p:cNvSpPr>
          <p:nvPr>
            <p:custDataLst>
              <p:tags r:id="rId2"/>
            </p:custDataLst>
          </p:nvPr>
        </p:nvSpPr>
        <p:spPr bwMode="gray">
          <a:xfrm rot="10800000">
            <a:off x="9190908" y="3433349"/>
            <a:ext cx="1345272" cy="56960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8458588" y="3348058"/>
            <a:ext cx="691856" cy="678335"/>
          </a:xfrm>
          <a:prstGeom prst="rect">
            <a:avLst/>
          </a:prstGeom>
          <a:solidFill>
            <a:srgbClr val="92D05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4,9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486621" y="3442208"/>
            <a:ext cx="6399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rgbClr val="FF0000"/>
                </a:solidFill>
              </a:rPr>
              <a:t>47%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7671221" y="4477714"/>
            <a:ext cx="691856" cy="708466"/>
          </a:xfrm>
          <a:prstGeom prst="rect">
            <a:avLst/>
          </a:prstGeom>
          <a:solidFill>
            <a:srgbClr val="F9FECE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1,07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9229185" y="4774561"/>
            <a:ext cx="1191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000" b="1" dirty="0" smtClean="0">
                <a:solidFill>
                  <a:srgbClr val="FF0000"/>
                </a:solidFill>
              </a:rPr>
              <a:t>171 млн. руб.</a:t>
            </a:r>
          </a:p>
        </p:txBody>
      </p:sp>
      <p:sp>
        <p:nvSpPr>
          <p:cNvPr id="72" name="clipart_drawncirclered"/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9190908" y="4551693"/>
            <a:ext cx="1345272" cy="56960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rgbClr val="C00000"/>
            </a:solidFill>
            <a:round/>
            <a:headEnd/>
            <a:tailEnd/>
          </a:ln>
        </p:spPr>
        <p:txBody>
          <a:bodyPr tIns="91440" bIns="9144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458588" y="4477714"/>
            <a:ext cx="691856" cy="708466"/>
          </a:xfrm>
          <a:prstGeom prst="rect">
            <a:avLst/>
          </a:prstGeom>
          <a:solidFill>
            <a:srgbClr val="92D05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ctr" anchorCtr="0"/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0</a:t>
            </a:r>
            <a:endParaRPr lang="ru-RU" sz="12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9486621" y="4571387"/>
            <a:ext cx="63991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rgbClr val="FF0000"/>
                </a:solidFill>
              </a:rPr>
              <a:t>29%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4306216" y="5941360"/>
            <a:ext cx="516769" cy="161095"/>
          </a:xfrm>
          <a:prstGeom prst="rect">
            <a:avLst/>
          </a:prstGeom>
          <a:solidFill>
            <a:srgbClr val="92D050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just"/>
            <a:endParaRPr lang="ru-RU" sz="10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4855934" y="5686957"/>
            <a:ext cx="2911161" cy="153888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rgbClr val="0C377B"/>
              </a:buClr>
            </a:pPr>
            <a:r>
              <a:rPr lang="ru-RU" sz="1000" i="1" dirty="0" smtClean="0">
                <a:solidFill>
                  <a:srgbClr val="505150"/>
                </a:solidFill>
                <a:cs typeface="Arial" panose="020B0604020202020204" pitchFamily="34" charset="0"/>
              </a:rPr>
              <a:t>- Первоначальное предложение, млн. руб.</a:t>
            </a:r>
            <a:endParaRPr lang="ru-RU" sz="1000" i="1" dirty="0">
              <a:solidFill>
                <a:srgbClr val="505150"/>
              </a:solidFill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4846409" y="5944132"/>
            <a:ext cx="2911161" cy="153888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rgbClr val="0C377B"/>
              </a:buClr>
            </a:pPr>
            <a:r>
              <a:rPr lang="ru-RU" sz="1000" i="1" dirty="0" smtClean="0">
                <a:solidFill>
                  <a:srgbClr val="505150"/>
                </a:solidFill>
                <a:cs typeface="Arial" panose="020B0604020202020204" pitchFamily="34" charset="0"/>
              </a:rPr>
              <a:t>- Итоговое предложение, млн. руб.</a:t>
            </a:r>
            <a:endParaRPr lang="ru-RU" sz="1000" i="1" dirty="0">
              <a:solidFill>
                <a:srgbClr val="505150"/>
              </a:solidFill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4822984" y="1654206"/>
            <a:ext cx="512288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defRPr/>
            </a:pPr>
            <a:r>
              <a:rPr lang="ru-RU" sz="1400" b="1" u="sng" kern="0" dirty="0" smtClean="0">
                <a:solidFill>
                  <a:prstClr val="black"/>
                </a:solidFill>
              </a:rPr>
              <a:t>Примеры высокой эффективности закупок Группы:</a:t>
            </a:r>
            <a:endParaRPr lang="ru-RU" sz="1400" b="1" u="sng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0700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>
          <a:xfrm rot="5567274">
            <a:off x="6116299" y="3090870"/>
            <a:ext cx="254523" cy="2556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636066" y="1833372"/>
            <a:ext cx="1132381" cy="1563655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44" name="Прямоугольник 43"/>
          <p:cNvSpPr/>
          <p:nvPr/>
        </p:nvSpPr>
        <p:spPr>
          <a:xfrm>
            <a:off x="5275523" y="1772005"/>
            <a:ext cx="721087" cy="217415"/>
          </a:xfrm>
          <a:prstGeom prst="rect">
            <a:avLst/>
          </a:prstGeom>
          <a:solidFill>
            <a:srgbClr val="F5FDAD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0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ПП 1352</a:t>
            </a:r>
            <a:endParaRPr lang="ru-RU" sz="1000" b="1" kern="0" dirty="0">
              <a:solidFill>
                <a:schemeClr val="tx1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Поддержка МСП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2</a:t>
            </a:fld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4711329" y="2509832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35390" y="1498539"/>
            <a:ext cx="4361787" cy="2752593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400" dirty="0">
                <a:solidFill>
                  <a:schemeClr val="bg1"/>
                </a:solidFill>
              </a:rPr>
              <a:t>Утвержден перечень товаров, работ, услуг закупки которых осуществляются у субъектов малого и среднего </a:t>
            </a:r>
            <a:r>
              <a:rPr lang="ru-RU" sz="1400" dirty="0" smtClean="0">
                <a:solidFill>
                  <a:schemeClr val="bg1"/>
                </a:solidFill>
              </a:rPr>
              <a:t>предпринимательства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400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400" dirty="0">
                <a:solidFill>
                  <a:schemeClr val="bg1"/>
                </a:solidFill>
              </a:rPr>
              <a:t>Введены ключевые показатели эффективности «Доля закупок у субъектов малого и среднего предпринимательства, в том числе по результатам проведенных закупок только среди субъектов МСП</a:t>
            </a:r>
            <a:r>
              <a:rPr lang="ru-RU" sz="1400" dirty="0" smtClean="0">
                <a:solidFill>
                  <a:schemeClr val="bg1"/>
                </a:solidFill>
              </a:rPr>
              <a:t>»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endParaRPr lang="ru-RU" sz="1400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</a:pPr>
            <a:r>
              <a:rPr lang="ru-RU" sz="1400" dirty="0">
                <a:solidFill>
                  <a:schemeClr val="bg1"/>
                </a:solidFill>
              </a:rPr>
              <a:t>Ведется постоянное взаимодействие с АО «Федеральная корпорация по развитию малого и среднего предпринимательства»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346701" y="1217939"/>
            <a:ext cx="46517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defRPr/>
            </a:pPr>
            <a:r>
              <a:rPr lang="ru-RU" sz="1200" b="1" u="sng" kern="0" dirty="0">
                <a:solidFill>
                  <a:prstClr val="black"/>
                </a:solidFill>
              </a:rPr>
              <a:t>Доля показателя закупок с </a:t>
            </a:r>
            <a:r>
              <a:rPr lang="ru-RU" sz="1200" b="1" u="sng" kern="0" dirty="0" smtClean="0">
                <a:solidFill>
                  <a:prstClr val="black"/>
                </a:solidFill>
              </a:rPr>
              <a:t>МСП по </a:t>
            </a:r>
            <a:r>
              <a:rPr lang="ru-RU" sz="1200" b="1" u="sng" kern="0" dirty="0">
                <a:solidFill>
                  <a:prstClr val="black"/>
                </a:solidFill>
              </a:rPr>
              <a:t>Группе РусГидро </a:t>
            </a:r>
            <a:r>
              <a:rPr lang="ru-RU" sz="1200" b="1" u="sng" kern="0" dirty="0" smtClean="0">
                <a:solidFill>
                  <a:prstClr val="black"/>
                </a:solidFill>
              </a:rPr>
              <a:t>в 2016г., млрд. руб. с НДС:</a:t>
            </a:r>
            <a:endParaRPr lang="ru-RU" sz="1200" b="1" u="sng" kern="0" dirty="0">
              <a:solidFill>
                <a:prstClr val="black"/>
              </a:solidFill>
            </a:endParaRPr>
          </a:p>
        </p:txBody>
      </p:sp>
      <p:sp>
        <p:nvSpPr>
          <p:cNvPr id="30" name="Скругленная прямоугольная выноска 29"/>
          <p:cNvSpPr/>
          <p:nvPr/>
        </p:nvSpPr>
        <p:spPr>
          <a:xfrm>
            <a:off x="4825497" y="3205778"/>
            <a:ext cx="2624929" cy="1069243"/>
          </a:xfrm>
          <a:prstGeom prst="wedgeRoundRectCallout">
            <a:avLst>
              <a:gd name="adj1" fmla="val -5350"/>
              <a:gd name="adj2" fmla="val -99890"/>
              <a:gd name="adj3" fmla="val 16667"/>
            </a:avLst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lvl="0" algn="ctr">
              <a:lnSpc>
                <a:spcPct val="150000"/>
              </a:lnSpc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од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действие Постановления 1352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опадает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</a:rPr>
              <a:t>23 </a:t>
            </a:r>
            <a:r>
              <a:rPr lang="ru-RU" sz="1200" b="1" dirty="0">
                <a:solidFill>
                  <a:schemeClr val="bg1">
                    <a:lumMod val="50000"/>
                  </a:schemeClr>
                </a:solidFill>
              </a:rPr>
              <a:t>компании Группы РусГидро 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27038" y="7095434"/>
            <a:ext cx="9069462" cy="453970"/>
          </a:xfrm>
          <a:prstGeom prst="rect">
            <a:avLst/>
          </a:prstGeom>
          <a:noFill/>
        </p:spPr>
        <p:txBody>
          <a:bodyPr wrap="square" lIns="72000" tIns="0" rIns="0" bIns="0" rtlCol="0">
            <a:spAutoFit/>
          </a:bodyPr>
          <a:lstStyle/>
          <a:p>
            <a:pPr>
              <a:spcBef>
                <a:spcPts val="300"/>
              </a:spcBef>
              <a:buClr>
                <a:srgbClr val="0C377B"/>
              </a:buClr>
            </a:pPr>
            <a:r>
              <a:rPr lang="ru-RU" sz="900" i="1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*– Плановые значения предусмотрены Постановлением Правительства 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Ф </a:t>
            </a:r>
            <a:r>
              <a:rPr lang="ru-RU" sz="900" i="1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т 11.12.2014г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. № 1352 «Об особенностях участия субъектов малого и среднего предпринимательства в закупках товаров, работ, услуг отдельными видами юридических лиц»</a:t>
            </a:r>
          </a:p>
          <a:p>
            <a:pPr>
              <a:spcBef>
                <a:spcPts val="300"/>
              </a:spcBef>
              <a:buClr>
                <a:srgbClr val="0C377B"/>
              </a:buClr>
            </a:pPr>
            <a:endParaRPr lang="ru-RU" sz="900" i="1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235242" y="1265818"/>
            <a:ext cx="1287164" cy="227003"/>
          </a:xfrm>
          <a:prstGeom prst="rect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600" b="1" kern="0" dirty="0" smtClean="0">
                <a:solidFill>
                  <a:schemeClr val="bg1"/>
                </a:solidFill>
                <a:latin typeface="Calibri"/>
              </a:rPr>
              <a:t>МСП</a:t>
            </a:r>
            <a:endParaRPr lang="ru-RU" sz="1600" b="1" kern="0" dirty="0">
              <a:solidFill>
                <a:schemeClr val="bg1"/>
              </a:solidFill>
              <a:latin typeface="Calibri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8990" y="1621867"/>
            <a:ext cx="3436519" cy="271363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4855304" y="4767158"/>
            <a:ext cx="455522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u="sng" dirty="0" smtClean="0">
                <a:solidFill>
                  <a:schemeClr val="tx2"/>
                </a:solidFill>
              </a:rPr>
              <a:t>Доля показателя по Дагестанскому Филиалу в 2016г.</a:t>
            </a:r>
          </a:p>
          <a:p>
            <a:endParaRPr lang="ru-RU" sz="1200" dirty="0" smtClean="0"/>
          </a:p>
          <a:p>
            <a:r>
              <a:rPr lang="ru-RU" sz="1200" dirty="0" smtClean="0"/>
              <a:t>821,2 </a:t>
            </a:r>
            <a:r>
              <a:rPr lang="ru-RU" sz="1200" dirty="0"/>
              <a:t>млн </a:t>
            </a:r>
            <a:r>
              <a:rPr lang="ru-RU" sz="1200" dirty="0" smtClean="0"/>
              <a:t>руб. Договоры с учетом исключений по ППРФ1352</a:t>
            </a:r>
            <a:endParaRPr lang="ru-RU" sz="1200" dirty="0"/>
          </a:p>
          <a:p>
            <a:r>
              <a:rPr lang="ru-RU" sz="1200" dirty="0" smtClean="0"/>
              <a:t>411,3 млн руб. Закупки у субъектов МСП</a:t>
            </a:r>
          </a:p>
          <a:p>
            <a:r>
              <a:rPr lang="ru-RU" sz="1200" dirty="0" smtClean="0"/>
              <a:t>50 %</a:t>
            </a:r>
          </a:p>
        </p:txBody>
      </p:sp>
    </p:spTree>
    <p:extLst>
      <p:ext uri="{BB962C8B-B14F-4D97-AF65-F5344CB8AC3E}">
        <p14:creationId xmlns:p14="http://schemas.microsoft.com/office/powerpoint/2010/main" val="42833284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235390" y="1164996"/>
            <a:ext cx="10162829" cy="3853532"/>
          </a:xfrm>
          <a:prstGeom prst="rect">
            <a:avLst/>
          </a:prstGeom>
          <a:solidFill>
            <a:srgbClr val="CED7E5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000" dirty="0">
              <a:solidFill>
                <a:srgbClr val="00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 rot="5567274">
            <a:off x="6116299" y="1823390"/>
            <a:ext cx="254523" cy="2556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Поддержка субъектов малого и среднего и предпринимательств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3</a:t>
            </a:fld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70011" y="5255012"/>
            <a:ext cx="9826625" cy="541192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000000"/>
                </a:solidFill>
              </a:rPr>
              <a:t>Отсутствие требований </a:t>
            </a:r>
            <a:r>
              <a:rPr lang="ru-RU" dirty="0">
                <a:solidFill>
                  <a:srgbClr val="000000"/>
                </a:solidFill>
              </a:rPr>
              <a:t>об обеспечении заявок в процедурах, в которых участниками являются только МСП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70013" y="1813937"/>
            <a:ext cx="9826625" cy="856840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u="sng" dirty="0" smtClean="0">
                <a:solidFill>
                  <a:srgbClr val="000000"/>
                </a:solidFill>
              </a:rPr>
              <a:t>По </a:t>
            </a:r>
            <a:r>
              <a:rPr lang="ru-RU" u="sng" dirty="0">
                <a:solidFill>
                  <a:srgbClr val="000000"/>
                </a:solidFill>
              </a:rPr>
              <a:t>договорам, результатом которых является ввод оборудования / объекта в эксплуатацию</a:t>
            </a:r>
            <a:r>
              <a:rPr lang="ru-RU" u="sng" dirty="0" smtClean="0">
                <a:solidFill>
                  <a:srgbClr val="000000"/>
                </a:solidFill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</a:rPr>
              <a:t>банковская </a:t>
            </a:r>
            <a:r>
              <a:rPr lang="ru-RU" dirty="0">
                <a:solidFill>
                  <a:srgbClr val="000000"/>
                </a:solidFill>
              </a:rPr>
              <a:t>гарантия не менее 5% от цены Договора / объекта, если Договором не предусмотрена выплата аванса (для остальных договоров 10</a:t>
            </a:r>
            <a:r>
              <a:rPr lang="ru-RU" dirty="0" smtClean="0">
                <a:solidFill>
                  <a:srgbClr val="000000"/>
                </a:solidFill>
              </a:rPr>
              <a:t>%)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70012" y="2859844"/>
            <a:ext cx="9826625" cy="933557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u="sng" dirty="0" smtClean="0">
                <a:solidFill>
                  <a:srgbClr val="000000"/>
                </a:solidFill>
              </a:rPr>
              <a:t>По </a:t>
            </a:r>
            <a:r>
              <a:rPr lang="ru-RU" u="sng" dirty="0">
                <a:solidFill>
                  <a:srgbClr val="000000"/>
                </a:solidFill>
              </a:rPr>
              <a:t>договорам на выполнение проектных и изыскательских работ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удерживается в качестве обеспечительного платежа 5% от цены договора и выплачиваются в течение 30 календарных дней  (по остальным договорам не менее 10% и 70 </a:t>
            </a:r>
            <a:r>
              <a:rPr lang="ru-RU" dirty="0" smtClean="0">
                <a:solidFill>
                  <a:srgbClr val="000000"/>
                </a:solidFill>
              </a:rPr>
              <a:t>дней).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7898" y="1230977"/>
            <a:ext cx="85464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</a:rPr>
              <a:t>Обеспечение исполнения обязательств со стороны МСП </a:t>
            </a:r>
            <a:r>
              <a:rPr lang="ru-RU" dirty="0" smtClean="0">
                <a:solidFill>
                  <a:srgbClr val="000000"/>
                </a:solidFill>
              </a:rPr>
              <a:t>предусмотрено: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70011" y="3969419"/>
            <a:ext cx="9826625" cy="933557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</a:rPr>
              <a:t>Расчет за поставленный товар, выполненные работы, оказанные услуги осуществляется - для договоров с МСП в течение 30 календарных дней (для остальных договоров в течение 60 календарных </a:t>
            </a:r>
            <a:r>
              <a:rPr lang="ru-RU" dirty="0" smtClean="0">
                <a:solidFill>
                  <a:srgbClr val="000000"/>
                </a:solidFill>
              </a:rPr>
              <a:t>дней по группе РАО ЭС Востока).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70011" y="5995891"/>
            <a:ext cx="9826626" cy="830422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000000"/>
                </a:solidFill>
              </a:rPr>
              <a:t>РусГидро реализует «Программу партнерства между ПАО «РусГидро» и субъектами МСП», направленную на формирование сети квалифицированных и ответственных партнеров из числа субъектов МСП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10886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Основные принципы оценки заяво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4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296488" y="1514700"/>
            <a:ext cx="9826625" cy="541192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Оценка участников осуществляется по заранее определенным в документации критерия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70013" y="2431546"/>
            <a:ext cx="9826625" cy="639974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Одинаковый</a:t>
            </a:r>
            <a:r>
              <a:rPr lang="ru-RU" u="sng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одход ко всем заявкам при их оценк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0010" y="3297859"/>
            <a:ext cx="9826625" cy="658148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ри несоответствии заявки участника отборочным критериям, заявка </a:t>
            </a:r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отклоняетс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70010" y="4104335"/>
            <a:ext cx="9826625" cy="805121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Решения о выборе принимаются коллегиально </a:t>
            </a:r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с учетом экспертных заключений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членов экспертной группы по направлениям: тех.,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квал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.,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бзп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., юр., фин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0010" y="5119573"/>
            <a:ext cx="9826625" cy="638429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Может применяться </a:t>
            </a:r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балльная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оценка на основе измеряемых оценочных критериев (в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т.ч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. – цена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70010" y="5984341"/>
            <a:ext cx="9826625" cy="665978"/>
          </a:xfrm>
          <a:prstGeom prst="rect">
            <a:avLst/>
          </a:prstGeom>
          <a:solidFill>
            <a:schemeClr val="bg1"/>
          </a:solidFill>
          <a:ln w="1905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Критерии оценки формируются на основе </a:t>
            </a:r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приоритетов и требований Заказчика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с одновременным соблюдением </a:t>
            </a:r>
            <a:r>
              <a:rPr lang="ru-RU" b="1" u="sng" dirty="0">
                <a:solidFill>
                  <a:schemeClr val="accent1">
                    <a:lumMod val="75000"/>
                  </a:schemeClr>
                </a:solidFill>
              </a:rPr>
              <a:t>принципа расширения конкуренции</a:t>
            </a:r>
          </a:p>
        </p:txBody>
      </p:sp>
    </p:spTree>
    <p:extLst>
      <p:ext uri="{BB962C8B-B14F-4D97-AF65-F5344CB8AC3E}">
        <p14:creationId xmlns:p14="http://schemas.microsoft.com/office/powerpoint/2010/main" val="2424199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Взаимодействие Заказчика и Участника в процессе закуп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5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087232" y="1375238"/>
            <a:ext cx="7172781" cy="155808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r>
              <a:rPr lang="ru-RU" b="1" dirty="0">
                <a:solidFill>
                  <a:srgbClr val="002060"/>
                </a:solidFill>
                <a:latin typeface="+mj-lt"/>
              </a:rPr>
              <a:t>Секретарь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закупочной комиссии –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единое окно для общения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с заказчиком для участника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закупки</a:t>
            </a:r>
          </a:p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endParaRPr lang="ru-RU" dirty="0" smtClean="0">
              <a:solidFill>
                <a:srgbClr val="002060"/>
              </a:solidFill>
              <a:latin typeface="+mj-lt"/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Существует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запрет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на общение с участниками закупки иным лицам,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кроме секретаря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закупочной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комиссии</a:t>
            </a:r>
            <a:endParaRPr lang="ru-RU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9" y="1455194"/>
            <a:ext cx="2313699" cy="147812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087231" y="4606774"/>
            <a:ext cx="7172781" cy="20113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Участники могут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пожаловаться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на действия организатора либо заказчика закупки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в Центральную закупочную </a:t>
            </a:r>
            <a:r>
              <a:rPr lang="ru-RU" b="1" dirty="0" smtClean="0">
                <a:solidFill>
                  <a:srgbClr val="002060"/>
                </a:solidFill>
                <a:latin typeface="+mj-lt"/>
              </a:rPr>
              <a:t>комиссию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endParaRPr lang="ru-RU" b="1" dirty="0" smtClean="0">
              <a:solidFill>
                <a:srgbClr val="002060"/>
              </a:solidFill>
              <a:latin typeface="+mj-lt"/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Также жалобы принимает «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Горячая линия РусГидро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»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3940" y="2833916"/>
            <a:ext cx="2651990" cy="235326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33388" y="3157630"/>
            <a:ext cx="7587981" cy="116992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  <a:buFont typeface="Arial" pitchFamily="34" charset="0"/>
              <a:buChar char="►"/>
            </a:pPr>
            <a:r>
              <a:rPr lang="ru-RU" dirty="0">
                <a:solidFill>
                  <a:srgbClr val="002060"/>
                </a:solidFill>
                <a:latin typeface="+mj-lt"/>
              </a:rPr>
              <a:t>Все взаимодействие с участниками осуществляется </a:t>
            </a:r>
            <a:r>
              <a:rPr lang="ru-RU" b="1" dirty="0">
                <a:solidFill>
                  <a:srgbClr val="002060"/>
                </a:solidFill>
                <a:latin typeface="+mj-lt"/>
              </a:rPr>
              <a:t>официально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, путем направления писем (в том числе запросы разъяснений- через ЭТП)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7201" y="5924358"/>
            <a:ext cx="2586073" cy="43529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141" y="4724970"/>
            <a:ext cx="1938696" cy="128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446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меры ошибок и некорректного поведения участников закупо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16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71192" y="1347240"/>
            <a:ext cx="9243588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b="1" u="sng" dirty="0">
                <a:solidFill>
                  <a:srgbClr val="002060"/>
                </a:solidFill>
                <a:latin typeface="+mj-lt"/>
              </a:rPr>
              <a:t>Низкая активность участников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в части уточняющих вопросов на этапе подготовки </a:t>
            </a:r>
            <a:r>
              <a:rPr lang="ru-RU" dirty="0" smtClean="0">
                <a:solidFill>
                  <a:srgbClr val="002060"/>
                </a:solidFill>
                <a:latin typeface="+mj-lt"/>
              </a:rPr>
              <a:t>заявок</a:t>
            </a:r>
            <a:endParaRPr lang="ru-RU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780" y="1368148"/>
            <a:ext cx="536593" cy="4561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23"/>
          <a:stretch/>
        </p:blipFill>
        <p:spPr>
          <a:xfrm>
            <a:off x="123699" y="2063521"/>
            <a:ext cx="934848" cy="70683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339914" y="2134274"/>
            <a:ext cx="9155490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dirty="0">
                <a:solidFill>
                  <a:srgbClr val="002060"/>
                </a:solidFill>
                <a:latin typeface="+mj-lt"/>
              </a:rPr>
              <a:t>Поздняя или некачественная </a:t>
            </a:r>
            <a:r>
              <a:rPr lang="ru-RU" b="1" u="sng" dirty="0">
                <a:solidFill>
                  <a:srgbClr val="002060"/>
                </a:solidFill>
                <a:latin typeface="+mj-lt"/>
              </a:rPr>
              <a:t>загрузка документов на ЭТП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, неработоспособность ключа ЭЦП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67427" y="2903613"/>
            <a:ext cx="9243588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dirty="0">
                <a:solidFill>
                  <a:srgbClr val="002060"/>
                </a:solidFill>
                <a:latin typeface="+mj-lt"/>
              </a:rPr>
              <a:t>При </a:t>
            </a:r>
            <a:r>
              <a:rPr lang="ru-RU" dirty="0" err="1">
                <a:solidFill>
                  <a:srgbClr val="002060"/>
                </a:solidFill>
                <a:latin typeface="+mj-lt"/>
              </a:rPr>
              <a:t>многолотовых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закупках – подача заявок </a:t>
            </a:r>
            <a:r>
              <a:rPr lang="ru-RU" b="1" u="sng" dirty="0">
                <a:solidFill>
                  <a:srgbClr val="002060"/>
                </a:solidFill>
                <a:latin typeface="+mj-lt"/>
              </a:rPr>
              <a:t>не на те лоты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827" y="2860812"/>
            <a:ext cx="452546" cy="63021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242729" y="3665259"/>
            <a:ext cx="9155490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b="1" u="sng" dirty="0">
                <a:solidFill>
                  <a:srgbClr val="002060"/>
                </a:solidFill>
                <a:latin typeface="+mj-lt"/>
              </a:rPr>
              <a:t>«Согласованное»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участие двух и более участников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99" y="3597920"/>
            <a:ext cx="955908" cy="636321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253498" y="4384146"/>
            <a:ext cx="9243588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b="1" u="sng" dirty="0">
                <a:solidFill>
                  <a:srgbClr val="002060"/>
                </a:solidFill>
                <a:latin typeface="+mj-lt"/>
              </a:rPr>
              <a:t>Попытки влияния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на других самостоятельных участник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339914" y="5068421"/>
            <a:ext cx="9155490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dirty="0">
                <a:solidFill>
                  <a:srgbClr val="002060"/>
                </a:solidFill>
                <a:latin typeface="+mj-lt"/>
              </a:rPr>
              <a:t>«Слепое» согласие с требованиями Заказчика </a:t>
            </a:r>
            <a:r>
              <a:rPr lang="ru-RU" b="1" u="sng" dirty="0">
                <a:solidFill>
                  <a:srgbClr val="002060"/>
                </a:solidFill>
                <a:latin typeface="+mj-lt"/>
              </a:rPr>
              <a:t>в расчете на изменение договора в будущем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95883" y="6355718"/>
            <a:ext cx="9155490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b="1" u="sng" dirty="0">
                <a:solidFill>
                  <a:srgbClr val="002060"/>
                </a:solidFill>
                <a:latin typeface="+mj-lt"/>
              </a:rPr>
              <a:t>Нежелание раскрывать 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реальную структуру стоимости, трудозатра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79831" y="5731077"/>
            <a:ext cx="9243588" cy="56533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2060"/>
              </a:buClr>
            </a:pPr>
            <a:r>
              <a:rPr lang="ru-RU" b="1" u="sng" dirty="0">
                <a:solidFill>
                  <a:srgbClr val="002060"/>
                </a:solidFill>
                <a:latin typeface="+mj-lt"/>
              </a:rPr>
              <a:t>Злоупотребление правом обжалования</a:t>
            </a:r>
            <a:r>
              <a:rPr lang="ru-RU" dirty="0">
                <a:solidFill>
                  <a:srgbClr val="002060"/>
                </a:solidFill>
                <a:latin typeface="+mj-lt"/>
              </a:rPr>
              <a:t> в ФАС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723419" y="4254895"/>
            <a:ext cx="536595" cy="76215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30626" y="5007994"/>
            <a:ext cx="673603" cy="69579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827" y="5741757"/>
            <a:ext cx="871379" cy="58326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9" y="6415093"/>
            <a:ext cx="480093" cy="505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7663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60" y="216272"/>
            <a:ext cx="10090435" cy="7184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723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858" y="216273"/>
          <a:ext cx="161027" cy="1650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5858" y="216273"/>
                        <a:ext cx="161027" cy="16501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24" name="Content Placeholder 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471023" y="4902747"/>
            <a:ext cx="5242659" cy="1871290"/>
          </a:xfrm>
          <a:prstGeom prst="rect">
            <a:avLst/>
          </a:prstGeom>
          <a:solidFill>
            <a:srgbClr val="DC5A2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8324" tIns="49162" rIns="98324" bIns="49162"/>
          <a:lstStyle>
            <a:lvl1pPr defTabSz="45720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ts val="645"/>
              </a:spcBef>
            </a:pPr>
            <a:endParaRPr lang="ru-RU" altLang="ru-RU" sz="4337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30725" name="Content Placeholder 1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 bwMode="auto">
          <a:xfrm>
            <a:off x="4788396" y="5148622"/>
            <a:ext cx="5492378" cy="1859737"/>
          </a:xfrm>
          <a:solidFill>
            <a:schemeClr val="accent4">
              <a:lumMod val="40000"/>
              <a:lumOff val="60000"/>
            </a:schemeClr>
          </a:solidFill>
          <a:extLst/>
        </p:spPr>
        <p:txBody>
          <a:bodyPr vert="horz" wrap="square" lIns="98324" tIns="49162" rIns="98324" bIns="49162" numCol="1" anchor="t" anchorCtr="0" compatLnSpc="1">
            <a:prstTxWarp prst="textNoShape">
              <a:avLst/>
            </a:prstTxWarp>
          </a:bodyPr>
          <a:lstStyle/>
          <a:p>
            <a:endParaRPr lang="en-US" altLang="ru-RU" dirty="0" smtClean="0">
              <a:cs typeface="Arial" pitchFamily="34" charset="0"/>
            </a:endParaRPr>
          </a:p>
          <a:p>
            <a:endParaRPr lang="en-US" altLang="ru-RU" dirty="0" smtClean="0">
              <a:cs typeface="Arial" pitchFamily="34" charset="0"/>
            </a:endParaRPr>
          </a:p>
          <a:p>
            <a:endParaRPr lang="ru-RU" altLang="ru-RU" dirty="0" smtClean="0">
              <a:cs typeface="Arial" pitchFamily="34" charset="0"/>
            </a:endParaRPr>
          </a:p>
          <a:p>
            <a:endParaRPr lang="en-US" altLang="ru-RU" dirty="0" smtClean="0">
              <a:cs typeface="Arial" pitchFamily="34" charset="0"/>
            </a:endParaRPr>
          </a:p>
        </p:txBody>
      </p:sp>
      <p:sp>
        <p:nvSpPr>
          <p:cNvPr id="30726" name="TextBox 2"/>
          <p:cNvSpPr txBox="1">
            <a:spLocks noChangeArrowheads="1"/>
          </p:cNvSpPr>
          <p:nvPr/>
        </p:nvSpPr>
        <p:spPr bwMode="auto">
          <a:xfrm>
            <a:off x="4839104" y="5148621"/>
            <a:ext cx="5139842" cy="505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8324" tIns="49162" rIns="98324" bIns="49162">
            <a:spAutoFit/>
          </a:bodyPr>
          <a:lstStyle>
            <a:lvl1pPr defTabSz="944563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4563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44563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44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2640" b="1" dirty="0">
                <a:solidFill>
                  <a:schemeClr val="tx2"/>
                </a:solidFill>
                <a:latin typeface="Calibri" pitchFamily="34" charset="0"/>
              </a:rPr>
              <a:t>Спасибо за внимание</a:t>
            </a:r>
          </a:p>
        </p:txBody>
      </p:sp>
      <p:sp>
        <p:nvSpPr>
          <p:cNvPr id="2" name="Rectangle 1"/>
          <p:cNvSpPr/>
          <p:nvPr/>
        </p:nvSpPr>
        <p:spPr>
          <a:xfrm>
            <a:off x="265603" y="188218"/>
            <a:ext cx="10121940" cy="254456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56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8324" tIns="49162" rIns="98324" bIns="49162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2" name="Picture 2" descr="C:\Users\oovechkin001\Desktop\Desktop\Шкф\esk_rusgidro_i_kraskom_dogovorilis_o_sotrudnichestve_v_oblasti_zhkh.jpg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6" t="24129" r="7799" b="25838"/>
          <a:stretch>
            <a:fillRect/>
          </a:stretch>
        </p:blipFill>
        <p:spPr bwMode="auto">
          <a:xfrm>
            <a:off x="592908" y="621391"/>
            <a:ext cx="3364778" cy="1163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565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620" y="160778"/>
            <a:ext cx="9067601" cy="566704"/>
          </a:xfrm>
        </p:spPr>
        <p:txBody>
          <a:bodyPr/>
          <a:lstStyle/>
          <a:p>
            <a:pPr algn="l">
              <a:lnSpc>
                <a:spcPct val="80000"/>
              </a:lnSpc>
            </a:pPr>
            <a:r>
              <a:rPr lang="ru-RU" dirty="0" err="1"/>
              <a:t>РусГидро</a:t>
            </a:r>
            <a:r>
              <a:rPr lang="ru-RU" dirty="0"/>
              <a:t> - один из крупнейших российских энергетических холдингов, являющийся лидером в производстве энергии на базе возобновляемых источников</a:t>
            </a:r>
            <a:endParaRPr lang="en-GB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8491338" y="7243456"/>
            <a:ext cx="1985227" cy="153888"/>
          </a:xfrm>
        </p:spPr>
        <p:txBody>
          <a:bodyPr/>
          <a:lstStyle/>
          <a:p>
            <a:pPr algn="r" defTabSz="829658"/>
            <a:fld id="{EA766A79-AB32-43AD-AE8B-DD41AB112B75}" type="slidenum">
              <a:rPr lang="ru-RU"/>
              <a:pPr algn="r" defTabSz="829658"/>
              <a:t>2</a:t>
            </a:fld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1979964" y="5220872"/>
            <a:ext cx="778014" cy="549408"/>
          </a:xfrm>
          <a:prstGeom prst="rect">
            <a:avLst/>
          </a:prstGeom>
        </p:spPr>
        <p:txBody>
          <a:bodyPr lIns="0" tIns="28639" rIns="0" bIns="0" anchor="t"/>
          <a:lstStyle>
            <a:lvl1pPr defTabSz="521450">
              <a:lnSpc>
                <a:spcPct val="80000"/>
              </a:lnSpc>
              <a:defRPr lang="en-US" sz="2400" b="1" dirty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Arial"/>
              </a:defRPr>
            </a:lvl1pPr>
            <a:lvl2pPr algn="ctr" defTabSz="521450">
              <a:defRPr sz="5000">
                <a:latin typeface="Arial" charset="0"/>
                <a:ea typeface="MS PGothic" pitchFamily="34" charset="-128"/>
              </a:defRPr>
            </a:lvl2pPr>
            <a:lvl3pPr algn="ctr" defTabSz="521450">
              <a:defRPr sz="5000">
                <a:latin typeface="Arial" charset="0"/>
                <a:ea typeface="MS PGothic" pitchFamily="34" charset="-128"/>
              </a:defRPr>
            </a:lvl3pPr>
            <a:lvl4pPr algn="ctr" defTabSz="521450">
              <a:defRPr sz="5000">
                <a:latin typeface="Arial" charset="0"/>
                <a:ea typeface="MS PGothic" pitchFamily="34" charset="-128"/>
              </a:defRPr>
            </a:lvl4pPr>
            <a:lvl5pPr algn="ctr" defTabSz="521450">
              <a:defRPr sz="5000">
                <a:latin typeface="Arial" charset="0"/>
                <a:ea typeface="MS PGothic" pitchFamily="34" charset="-128"/>
              </a:defRPr>
            </a:lvl5pPr>
            <a:lvl6pPr marL="521450" algn="ctr" defTabSz="521450" fontAlgn="base">
              <a:spcBef>
                <a:spcPct val="0"/>
              </a:spcBef>
              <a:spcAft>
                <a:spcPct val="0"/>
              </a:spcAft>
              <a:defRPr sz="5000">
                <a:latin typeface="Arial" charset="0"/>
              </a:defRPr>
            </a:lvl6pPr>
            <a:lvl7pPr marL="1042900" algn="ctr" defTabSz="521450" fontAlgn="base">
              <a:spcBef>
                <a:spcPct val="0"/>
              </a:spcBef>
              <a:spcAft>
                <a:spcPct val="0"/>
              </a:spcAft>
              <a:defRPr sz="5000">
                <a:latin typeface="Arial" charset="0"/>
              </a:defRPr>
            </a:lvl7pPr>
            <a:lvl8pPr marL="1564348" algn="ctr" defTabSz="521450" fontAlgn="base">
              <a:spcBef>
                <a:spcPct val="0"/>
              </a:spcBef>
              <a:spcAft>
                <a:spcPct val="0"/>
              </a:spcAft>
              <a:defRPr sz="5000">
                <a:latin typeface="Arial" charset="0"/>
              </a:defRPr>
            </a:lvl8pPr>
            <a:lvl9pPr marL="2085798" algn="ctr" defTabSz="521450" fontAlgn="base">
              <a:spcBef>
                <a:spcPct val="0"/>
              </a:spcBef>
              <a:spcAft>
                <a:spcPct val="0"/>
              </a:spcAft>
              <a:defRPr sz="5000"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>
              <a:solidFill>
                <a:srgbClr val="272727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862" y="1531340"/>
            <a:ext cx="42896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322" indent="-157863" algn="just">
              <a:buBlip>
                <a:blip r:embed="rId3"/>
              </a:buBlip>
            </a:pPr>
            <a:r>
              <a:rPr lang="ru-RU" sz="1200" dirty="0">
                <a:solidFill>
                  <a:srgbClr val="505150"/>
                </a:solidFill>
              </a:rPr>
              <a:t>Установленная мощность активов Группы составляет </a:t>
            </a:r>
            <a:r>
              <a:rPr lang="ru-RU" sz="1200" dirty="0" smtClean="0">
                <a:solidFill>
                  <a:srgbClr val="505150"/>
                </a:solidFill>
              </a:rPr>
              <a:t>38,9 </a:t>
            </a:r>
            <a:r>
              <a:rPr lang="ru-RU" sz="1200" dirty="0">
                <a:solidFill>
                  <a:srgbClr val="505150"/>
                </a:solidFill>
              </a:rPr>
              <a:t>ГВт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0861" y="2179902"/>
            <a:ext cx="42841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322" indent="-157863" algn="just">
              <a:buBlip>
                <a:blip r:embed="rId3"/>
              </a:buBlip>
            </a:pPr>
            <a:r>
              <a:rPr lang="ru-RU" sz="1200" dirty="0">
                <a:solidFill>
                  <a:srgbClr val="505150"/>
                </a:solidFill>
              </a:rPr>
              <a:t>Компания владеет более 70 гидроэлектростанциями и иными энергетическими активами,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90862" y="5521561"/>
            <a:ext cx="98409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322" indent="-157863" algn="just">
              <a:buBlip>
                <a:blip r:embed="rId3"/>
              </a:buBlip>
            </a:pPr>
            <a:r>
              <a:rPr lang="ru-RU" sz="1200" dirty="0" smtClean="0"/>
              <a:t>Группа РусГидро развивает </a:t>
            </a:r>
            <a:r>
              <a:rPr lang="ru-RU" sz="1200" dirty="0"/>
              <a:t>такие направления в области ВИЭ, как солнечная, ветровая, геотермальная энергетика и малые </a:t>
            </a:r>
            <a:r>
              <a:rPr lang="ru-RU" sz="1200" dirty="0" smtClean="0"/>
              <a:t>ГЭС</a:t>
            </a:r>
            <a:endParaRPr lang="ru-RU" sz="1200" dirty="0" smtClean="0">
              <a:solidFill>
                <a:srgbClr val="50515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4793" y="5793970"/>
            <a:ext cx="1014648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322" indent="-157863" algn="just">
              <a:buBlip>
                <a:blip r:embed="rId3"/>
              </a:buBlip>
            </a:pPr>
            <a:r>
              <a:rPr lang="ru-RU" sz="1200" dirty="0">
                <a:solidFill>
                  <a:srgbClr val="505150"/>
                </a:solidFill>
              </a:rPr>
              <a:t>В Группу </a:t>
            </a:r>
            <a:r>
              <a:rPr lang="ru-RU" sz="1200" dirty="0" smtClean="0">
                <a:solidFill>
                  <a:srgbClr val="505150"/>
                </a:solidFill>
              </a:rPr>
              <a:t>также входят сбытовые, ремонтные, строительные, научные и проектные организации</a:t>
            </a:r>
            <a:endParaRPr lang="ru-RU" sz="1200" dirty="0">
              <a:solidFill>
                <a:srgbClr val="50515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26875" y="2828464"/>
            <a:ext cx="42841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9459" algn="just"/>
            <a:r>
              <a:rPr lang="ru-RU" sz="1200" dirty="0" smtClean="0">
                <a:solidFill>
                  <a:srgbClr val="505150"/>
                </a:solidFill>
              </a:rPr>
              <a:t>Дагестанским Филиалом эксплуатируются 9 крупных и средних по мощности станций и 7 малых ГЭС.</a:t>
            </a:r>
          </a:p>
          <a:p>
            <a:pPr marL="69459" algn="just"/>
            <a:r>
              <a:rPr lang="ru-RU" sz="1200" dirty="0" smtClean="0">
                <a:solidFill>
                  <a:srgbClr val="505150"/>
                </a:solidFill>
              </a:rPr>
              <a:t>Общая мощность 1,885 МВТ</a:t>
            </a:r>
            <a:endParaRPr lang="ru-RU" sz="1200" dirty="0">
              <a:solidFill>
                <a:srgbClr val="50515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3895" y="6236489"/>
            <a:ext cx="9915165" cy="534385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Стоимость проведенных закупок </a:t>
            </a:r>
            <a:r>
              <a:rPr lang="ru-RU" sz="1400" b="1" dirty="0" smtClean="0">
                <a:solidFill>
                  <a:schemeClr val="bg1"/>
                </a:solidFill>
              </a:rPr>
              <a:t>в </a:t>
            </a:r>
            <a:r>
              <a:rPr lang="ru-RU" sz="1400" b="1" dirty="0">
                <a:solidFill>
                  <a:schemeClr val="bg1"/>
                </a:solidFill>
              </a:rPr>
              <a:t>2016 г.: 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b="1" dirty="0" smtClean="0">
                <a:solidFill>
                  <a:schemeClr val="bg1"/>
                </a:solidFill>
              </a:rPr>
              <a:t>226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млрд. руб. с </a:t>
            </a:r>
            <a:r>
              <a:rPr lang="ru-RU" sz="1400" b="1" dirty="0" smtClean="0">
                <a:solidFill>
                  <a:schemeClr val="bg1"/>
                </a:solidFill>
              </a:rPr>
              <a:t>НДС  (</a:t>
            </a:r>
            <a:r>
              <a:rPr lang="ru-RU" b="1" dirty="0" smtClean="0">
                <a:solidFill>
                  <a:schemeClr val="bg1"/>
                </a:solidFill>
              </a:rPr>
              <a:t>15 350</a:t>
            </a:r>
            <a:r>
              <a:rPr lang="ru-RU" sz="1400" b="1" dirty="0" smtClean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закупочных процедур</a:t>
            </a:r>
            <a:r>
              <a:rPr lang="ru-RU" sz="1400" b="1" dirty="0" smtClean="0">
                <a:solidFill>
                  <a:schemeClr val="bg1"/>
                </a:solidFill>
              </a:rPr>
              <a:t>)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По Дагестанскому Филиалу: 2 млрд. </a:t>
            </a:r>
            <a:r>
              <a:rPr lang="ru-RU" sz="1400" b="1" dirty="0" err="1" smtClean="0">
                <a:solidFill>
                  <a:schemeClr val="bg1"/>
                </a:solidFill>
              </a:rPr>
              <a:t>руб</a:t>
            </a:r>
            <a:r>
              <a:rPr lang="ru-RU" sz="1400" b="1" dirty="0" smtClean="0">
                <a:solidFill>
                  <a:schemeClr val="bg1"/>
                </a:solidFill>
              </a:rPr>
              <a:t> (187 закупочных процедур)</a:t>
            </a:r>
            <a:endParaRPr lang="ru-RU" sz="1400" b="1" dirty="0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996" y="1531340"/>
            <a:ext cx="6316003" cy="3740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77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Основные категории закупок </a:t>
            </a:r>
            <a:r>
              <a:rPr lang="ru-RU" dirty="0" smtClean="0"/>
              <a:t>ПАО «РусГидро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3</a:t>
            </a:fld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429463" y="4387094"/>
            <a:ext cx="1719507" cy="811056"/>
          </a:xfrm>
          <a:prstGeom prst="rect">
            <a:avLst/>
          </a:prstGeom>
          <a:effectLst>
            <a:glow rad="228600">
              <a:srgbClr val="DC5A20">
                <a:alpha val="40000"/>
              </a:srgbClr>
            </a:glow>
          </a:effectLst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463" y="2980178"/>
            <a:ext cx="1719507" cy="830752"/>
          </a:xfrm>
          <a:prstGeom prst="rect">
            <a:avLst/>
          </a:prstGeom>
          <a:effectLst>
            <a:glow rad="228600">
              <a:srgbClr val="DC5A20">
                <a:alpha val="40000"/>
              </a:srgbClr>
            </a:glow>
          </a:effectLst>
        </p:spPr>
      </p:pic>
      <p:pic>
        <p:nvPicPr>
          <p:cNvPr id="3074" name="Picture 2" descr="https://genergynews.files.wordpress.com/2012/10/hydro-manufacturing-francis-turbine-workers.jpg?w=76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463" y="1577262"/>
            <a:ext cx="1719507" cy="811326"/>
          </a:xfrm>
          <a:prstGeom prst="rect">
            <a:avLst/>
          </a:prstGeom>
          <a:effectLst>
            <a:glow rad="228600">
              <a:srgbClr val="DC5A20">
                <a:alpha val="40000"/>
              </a:srgb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080" y="5713776"/>
            <a:ext cx="1731890" cy="828601"/>
          </a:xfrm>
          <a:prstGeom prst="rect">
            <a:avLst/>
          </a:prstGeom>
          <a:effectLst>
            <a:glow rad="228600">
              <a:srgbClr val="DC5A20">
                <a:alpha val="40000"/>
              </a:srgbClr>
            </a:glow>
          </a:effectLst>
        </p:spPr>
      </p:pic>
      <p:grpSp>
        <p:nvGrpSpPr>
          <p:cNvPr id="41" name="Группа 40"/>
          <p:cNvGrpSpPr/>
          <p:nvPr/>
        </p:nvGrpSpPr>
        <p:grpSpPr>
          <a:xfrm>
            <a:off x="6677545" y="1620781"/>
            <a:ext cx="3680960" cy="1631710"/>
            <a:chOff x="6401106" y="1615407"/>
            <a:chExt cx="3680960" cy="1631710"/>
          </a:xfrm>
        </p:grpSpPr>
        <p:grpSp>
          <p:nvGrpSpPr>
            <p:cNvPr id="11" name="Group 9"/>
            <p:cNvGrpSpPr>
              <a:grpSpLocks/>
            </p:cNvGrpSpPr>
            <p:nvPr/>
          </p:nvGrpSpPr>
          <p:grpSpPr bwMode="auto">
            <a:xfrm>
              <a:off x="6401106" y="1615407"/>
              <a:ext cx="3680960" cy="367521"/>
              <a:chOff x="3637" y="1457"/>
              <a:chExt cx="1300" cy="204"/>
            </a:xfrm>
          </p:grpSpPr>
          <p:sp>
            <p:nvSpPr>
              <p:cNvPr id="13" name="AutoShape 11"/>
              <p:cNvSpPr>
                <a:spLocks noChangeArrowheads="1"/>
              </p:cNvSpPr>
              <p:nvPr/>
            </p:nvSpPr>
            <p:spPr bwMode="gray">
              <a:xfrm flipH="1">
                <a:off x="4878" y="1457"/>
                <a:ext cx="59" cy="204"/>
              </a:xfrm>
              <a:prstGeom prst="moon">
                <a:avLst>
                  <a:gd name="adj" fmla="val 22032"/>
                </a:avLst>
              </a:prstGeom>
              <a:gradFill rotWithShape="1">
                <a:gsLst>
                  <a:gs pos="0">
                    <a:srgbClr val="FFFFFF">
                      <a:gamma/>
                      <a:shade val="46275"/>
                      <a:invGamma/>
                      <a:alpha val="0"/>
                    </a:srgbClr>
                  </a:gs>
                  <a:gs pos="50000">
                    <a:srgbClr val="FFFFFF">
                      <a:alpha val="84000"/>
                    </a:srgbClr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AutoShape 12"/>
              <p:cNvSpPr>
                <a:spLocks noChangeArrowheads="1"/>
              </p:cNvSpPr>
              <p:nvPr/>
            </p:nvSpPr>
            <p:spPr bwMode="gray">
              <a:xfrm>
                <a:off x="3637" y="1457"/>
                <a:ext cx="59" cy="204"/>
              </a:xfrm>
              <a:prstGeom prst="moon">
                <a:avLst>
                  <a:gd name="adj" fmla="val 22032"/>
                </a:avLst>
              </a:prstGeom>
              <a:gradFill rotWithShape="1">
                <a:gsLst>
                  <a:gs pos="0">
                    <a:srgbClr val="FFFFFF">
                      <a:gamma/>
                      <a:shade val="46275"/>
                      <a:invGamma/>
                      <a:alpha val="0"/>
                    </a:srgbClr>
                  </a:gs>
                  <a:gs pos="50000">
                    <a:srgbClr val="FFFFFF">
                      <a:alpha val="84000"/>
                    </a:srgbClr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2" name="AutoShape 28"/>
            <p:cNvSpPr>
              <a:spLocks noChangeArrowheads="1"/>
            </p:cNvSpPr>
            <p:nvPr/>
          </p:nvSpPr>
          <p:spPr bwMode="gray">
            <a:xfrm>
              <a:off x="6484636" y="2136203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Проектные работы</a:t>
              </a:r>
            </a:p>
          </p:txBody>
        </p:sp>
        <p:sp>
          <p:nvSpPr>
            <p:cNvPr id="43" name="AutoShape 28"/>
            <p:cNvSpPr>
              <a:spLocks noChangeArrowheads="1"/>
            </p:cNvSpPr>
            <p:nvPr/>
          </p:nvSpPr>
          <p:spPr bwMode="gray">
            <a:xfrm>
              <a:off x="6484636" y="2494111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Расходы на ремонт и техническое обслуживание</a:t>
              </a:r>
            </a:p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оборудования и сооружений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45" name="AutoShape 28"/>
            <p:cNvSpPr>
              <a:spLocks noChangeArrowheads="1"/>
            </p:cNvSpPr>
            <p:nvPr/>
          </p:nvSpPr>
          <p:spPr bwMode="gray">
            <a:xfrm>
              <a:off x="6450954" y="2907315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НИР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438544" y="1476879"/>
            <a:ext cx="3760314" cy="5398819"/>
            <a:chOff x="6361466" y="1536135"/>
            <a:chExt cx="3760314" cy="5398819"/>
          </a:xfrm>
        </p:grpSpPr>
        <p:grpSp>
          <p:nvGrpSpPr>
            <p:cNvPr id="57" name="Group 9"/>
            <p:cNvGrpSpPr>
              <a:grpSpLocks/>
            </p:cNvGrpSpPr>
            <p:nvPr/>
          </p:nvGrpSpPr>
          <p:grpSpPr bwMode="auto">
            <a:xfrm>
              <a:off x="6361466" y="1536135"/>
              <a:ext cx="3740422" cy="529662"/>
              <a:chOff x="3623" y="1413"/>
              <a:chExt cx="1321" cy="294"/>
            </a:xfrm>
          </p:grpSpPr>
          <p:sp>
            <p:nvSpPr>
              <p:cNvPr id="72" name="AutoShape 10"/>
              <p:cNvSpPr>
                <a:spLocks noChangeArrowheads="1"/>
              </p:cNvSpPr>
              <p:nvPr/>
            </p:nvSpPr>
            <p:spPr bwMode="gray">
              <a:xfrm>
                <a:off x="3623" y="1413"/>
                <a:ext cx="1321" cy="294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1">
                      <a:gamma/>
                      <a:shade val="89020"/>
                      <a:invGamma/>
                    </a:schemeClr>
                  </a:gs>
                  <a:gs pos="50000">
                    <a:schemeClr val="accent1"/>
                  </a:gs>
                  <a:gs pos="100000">
                    <a:schemeClr val="accent1">
                      <a:gamma/>
                      <a:shade val="89020"/>
                      <a:invGamma/>
                    </a:schemeClr>
                  </a:gs>
                </a:gsLst>
                <a:lin ang="0" scaled="1"/>
              </a:gradFill>
              <a:ln w="12700">
                <a:solidFill>
                  <a:schemeClr val="accent1"/>
                </a:solidFill>
                <a:round/>
                <a:headEnd/>
                <a:tailEnd/>
              </a:ln>
              <a:effectLst>
                <a:outerShdw dist="53882" dir="2700000" algn="ctr" rotWithShape="0">
                  <a:srgbClr val="292929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ru-RU" b="1" dirty="0" smtClean="0">
                    <a:solidFill>
                      <a:schemeClr val="bg1"/>
                    </a:solidFill>
                  </a:rPr>
                  <a:t>РусГидро</a:t>
                </a:r>
                <a:endParaRPr lang="ru-RU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AutoShape 11"/>
              <p:cNvSpPr>
                <a:spLocks noChangeArrowheads="1"/>
              </p:cNvSpPr>
              <p:nvPr/>
            </p:nvSpPr>
            <p:spPr bwMode="gray">
              <a:xfrm flipH="1">
                <a:off x="4878" y="1457"/>
                <a:ext cx="59" cy="204"/>
              </a:xfrm>
              <a:prstGeom prst="moon">
                <a:avLst>
                  <a:gd name="adj" fmla="val 22032"/>
                </a:avLst>
              </a:prstGeom>
              <a:gradFill rotWithShape="1">
                <a:gsLst>
                  <a:gs pos="0">
                    <a:srgbClr val="FFFFFF">
                      <a:gamma/>
                      <a:shade val="46275"/>
                      <a:invGamma/>
                      <a:alpha val="0"/>
                    </a:srgbClr>
                  </a:gs>
                  <a:gs pos="50000">
                    <a:srgbClr val="FFFFFF">
                      <a:alpha val="84000"/>
                    </a:srgbClr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AutoShape 12"/>
              <p:cNvSpPr>
                <a:spLocks noChangeArrowheads="1"/>
              </p:cNvSpPr>
              <p:nvPr/>
            </p:nvSpPr>
            <p:spPr bwMode="gray">
              <a:xfrm>
                <a:off x="3637" y="1457"/>
                <a:ext cx="59" cy="204"/>
              </a:xfrm>
              <a:prstGeom prst="moon">
                <a:avLst>
                  <a:gd name="adj" fmla="val 22032"/>
                </a:avLst>
              </a:prstGeom>
              <a:gradFill rotWithShape="1">
                <a:gsLst>
                  <a:gs pos="0">
                    <a:srgbClr val="FFFFFF">
                      <a:gamma/>
                      <a:shade val="46275"/>
                      <a:invGamma/>
                      <a:alpha val="0"/>
                    </a:srgbClr>
                  </a:gs>
                  <a:gs pos="50000">
                    <a:srgbClr val="FFFFFF">
                      <a:alpha val="84000"/>
                    </a:srgbClr>
                  </a:gs>
                  <a:gs pos="100000">
                    <a:srgbClr val="FFFFFF">
                      <a:gamma/>
                      <a:shade val="46275"/>
                      <a:invGamma/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8" name="AutoShape 13"/>
            <p:cNvSpPr>
              <a:spLocks noChangeArrowheads="1"/>
            </p:cNvSpPr>
            <p:nvPr/>
          </p:nvSpPr>
          <p:spPr bwMode="gray">
            <a:xfrm>
              <a:off x="6391749" y="2099698"/>
              <a:ext cx="3730031" cy="4835256"/>
            </a:xfrm>
            <a:prstGeom prst="roundRect">
              <a:avLst>
                <a:gd name="adj" fmla="val 8014"/>
              </a:avLst>
            </a:prstGeom>
            <a:solidFill>
              <a:srgbClr val="F8F8F8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9" name="AutoShape 28"/>
            <p:cNvSpPr>
              <a:spLocks noChangeArrowheads="1"/>
            </p:cNvSpPr>
            <p:nvPr/>
          </p:nvSpPr>
          <p:spPr bwMode="gray">
            <a:xfrm>
              <a:off x="6484636" y="2136203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Гидротурбинное оборудование</a:t>
              </a:r>
            </a:p>
          </p:txBody>
        </p:sp>
        <p:sp>
          <p:nvSpPr>
            <p:cNvPr id="60" name="AutoShape 28"/>
            <p:cNvSpPr>
              <a:spLocks noChangeArrowheads="1"/>
            </p:cNvSpPr>
            <p:nvPr/>
          </p:nvSpPr>
          <p:spPr bwMode="gray">
            <a:xfrm>
              <a:off x="6484636" y="2494111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Гидрогенераторное оборудование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AutoShape 28"/>
            <p:cNvSpPr>
              <a:spLocks noChangeArrowheads="1"/>
            </p:cNvSpPr>
            <p:nvPr/>
          </p:nvSpPr>
          <p:spPr bwMode="gray">
            <a:xfrm>
              <a:off x="6484635" y="2847726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Трансформаторное оборудование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AutoShape 28"/>
            <p:cNvSpPr>
              <a:spLocks noChangeArrowheads="1"/>
            </p:cNvSpPr>
            <p:nvPr/>
          </p:nvSpPr>
          <p:spPr bwMode="gray">
            <a:xfrm>
              <a:off x="6484635" y="3201341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Оборудование </a:t>
              </a:r>
              <a:r>
                <a:rPr lang="ru-RU" sz="1050" b="1" dirty="0">
                  <a:solidFill>
                    <a:schemeClr val="bg1"/>
                  </a:solidFill>
                </a:rPr>
                <a:t>КРУЭ, ОРУ</a:t>
              </a:r>
            </a:p>
          </p:txBody>
        </p:sp>
        <p:sp>
          <p:nvSpPr>
            <p:cNvPr id="63" name="AutoShape 28"/>
            <p:cNvSpPr>
              <a:spLocks noChangeArrowheads="1"/>
            </p:cNvSpPr>
            <p:nvPr/>
          </p:nvSpPr>
          <p:spPr bwMode="gray">
            <a:xfrm>
              <a:off x="6484635" y="3554595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Оборудование </a:t>
              </a:r>
              <a:r>
                <a:rPr lang="ru-RU" sz="1050" b="1" dirty="0">
                  <a:solidFill>
                    <a:schemeClr val="bg1"/>
                  </a:solidFill>
                </a:rPr>
                <a:t>АСУ ТП, ПА, РЗА и связи</a:t>
              </a:r>
            </a:p>
          </p:txBody>
        </p:sp>
        <p:sp>
          <p:nvSpPr>
            <p:cNvPr id="64" name="AutoShape 28"/>
            <p:cNvSpPr>
              <a:spLocks noChangeArrowheads="1"/>
            </p:cNvSpPr>
            <p:nvPr/>
          </p:nvSpPr>
          <p:spPr bwMode="gray">
            <a:xfrm>
              <a:off x="6484634" y="3913821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Масло трансформаторное </a:t>
              </a:r>
              <a:r>
                <a:rPr lang="ru-RU" sz="1050" b="1" dirty="0">
                  <a:solidFill>
                    <a:schemeClr val="bg1"/>
                  </a:solidFill>
                </a:rPr>
                <a:t>и </a:t>
              </a:r>
              <a:r>
                <a:rPr lang="ru-RU" sz="1050" b="1" dirty="0" smtClean="0">
                  <a:solidFill>
                    <a:schemeClr val="bg1"/>
                  </a:solidFill>
                </a:rPr>
                <a:t>турбинное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AutoShape 28"/>
            <p:cNvSpPr>
              <a:spLocks noChangeArrowheads="1"/>
            </p:cNvSpPr>
            <p:nvPr/>
          </p:nvSpPr>
          <p:spPr bwMode="gray">
            <a:xfrm>
              <a:off x="6484634" y="4276128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Компрессорное оборудование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6" name="AutoShape 28"/>
            <p:cNvSpPr>
              <a:spLocks noChangeArrowheads="1"/>
            </p:cNvSpPr>
            <p:nvPr/>
          </p:nvSpPr>
          <p:spPr bwMode="gray">
            <a:xfrm>
              <a:off x="6484634" y="4638796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Кабельная продукция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67" name="AutoShape 28"/>
            <p:cNvSpPr>
              <a:spLocks noChangeArrowheads="1"/>
            </p:cNvSpPr>
            <p:nvPr/>
          </p:nvSpPr>
          <p:spPr bwMode="gray">
            <a:xfrm>
              <a:off x="6484634" y="5008517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>
                  <a:solidFill>
                    <a:schemeClr val="bg1"/>
                  </a:solidFill>
                </a:rPr>
                <a:t> </a:t>
              </a:r>
              <a:r>
                <a:rPr lang="ru-RU" sz="1050" b="1" dirty="0" smtClean="0">
                  <a:solidFill>
                    <a:schemeClr val="bg1"/>
                  </a:solidFill>
                </a:rPr>
                <a:t>Оборудование </a:t>
              </a:r>
              <a:r>
                <a:rPr lang="ru-RU" sz="1050" b="1" dirty="0">
                  <a:solidFill>
                    <a:schemeClr val="bg1"/>
                  </a:solidFill>
                </a:rPr>
                <a:t>КРУ, ГРУ</a:t>
              </a:r>
            </a:p>
          </p:txBody>
        </p:sp>
        <p:sp>
          <p:nvSpPr>
            <p:cNvPr id="68" name="AutoShape 28"/>
            <p:cNvSpPr>
              <a:spLocks noChangeArrowheads="1"/>
            </p:cNvSpPr>
            <p:nvPr/>
          </p:nvSpPr>
          <p:spPr bwMode="gray">
            <a:xfrm>
              <a:off x="6484633" y="5380238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Оборудование </a:t>
              </a:r>
              <a:r>
                <a:rPr lang="ru-RU" sz="1050" b="1" dirty="0">
                  <a:solidFill>
                    <a:schemeClr val="bg1"/>
                  </a:solidFill>
                </a:rPr>
                <a:t>оперативного постоянного тока</a:t>
              </a:r>
            </a:p>
          </p:txBody>
        </p:sp>
        <p:sp>
          <p:nvSpPr>
            <p:cNvPr id="69" name="AutoShape 28"/>
            <p:cNvSpPr>
              <a:spLocks noChangeArrowheads="1"/>
            </p:cNvSpPr>
            <p:nvPr/>
          </p:nvSpPr>
          <p:spPr bwMode="gray">
            <a:xfrm>
              <a:off x="6484633" y="5742906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>
                  <a:solidFill>
                    <a:schemeClr val="bg1"/>
                  </a:solidFill>
                </a:rPr>
                <a:t>Поверка гидромеханического оборудования</a:t>
              </a:r>
            </a:p>
          </p:txBody>
        </p:sp>
        <p:sp>
          <p:nvSpPr>
            <p:cNvPr id="70" name="AutoShape 28"/>
            <p:cNvSpPr>
              <a:spLocks noChangeArrowheads="1"/>
            </p:cNvSpPr>
            <p:nvPr/>
          </p:nvSpPr>
          <p:spPr bwMode="gray">
            <a:xfrm>
              <a:off x="6484632" y="6112747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Грузоподъемное оборудование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AutoShape 28"/>
            <p:cNvSpPr>
              <a:spLocks noChangeArrowheads="1"/>
            </p:cNvSpPr>
            <p:nvPr/>
          </p:nvSpPr>
          <p:spPr bwMode="gray">
            <a:xfrm>
              <a:off x="6484632" y="6484468"/>
              <a:ext cx="3532621" cy="339802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rgbClr val="C68AD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50" b="1" dirty="0" smtClean="0">
                  <a:solidFill>
                    <a:schemeClr val="bg1"/>
                  </a:solidFill>
                </a:rPr>
                <a:t>Оборудование </a:t>
              </a:r>
              <a:r>
                <a:rPr lang="ru-RU" sz="1050" b="1" dirty="0">
                  <a:solidFill>
                    <a:schemeClr val="bg1"/>
                  </a:solidFill>
                </a:rPr>
                <a:t>вспомогательных систе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35075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Рисунок 9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486295" flipH="1" flipV="1">
            <a:off x="6202541" y="4496690"/>
            <a:ext cx="515375" cy="626039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5254" y="3117578"/>
            <a:ext cx="2936254" cy="1053853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178634" flipH="1">
            <a:off x="8996742" y="3530690"/>
            <a:ext cx="563164" cy="663643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67554" flipH="1" flipV="1">
            <a:off x="5210110" y="3557973"/>
            <a:ext cx="515375" cy="626039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120805" flipH="1">
            <a:off x="8091231" y="4485225"/>
            <a:ext cx="506304" cy="610521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07478" flipV="1">
            <a:off x="6067675" y="2504497"/>
            <a:ext cx="572851" cy="654355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802102">
            <a:off x="8087471" y="2539112"/>
            <a:ext cx="513827" cy="624158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33389" y="151770"/>
            <a:ext cx="9826625" cy="745168"/>
          </a:xfrm>
        </p:spPr>
        <p:txBody>
          <a:bodyPr/>
          <a:lstStyle/>
          <a:p>
            <a:pPr algn="l"/>
            <a:r>
              <a:rPr lang="ru-RU" dirty="0"/>
              <a:t>Прозрачность закупочной </a:t>
            </a:r>
            <a:r>
              <a:rPr lang="ru-RU" dirty="0" smtClean="0"/>
              <a:t>деятельности, </a:t>
            </a:r>
            <a:br>
              <a:rPr lang="ru-RU" dirty="0" smtClean="0"/>
            </a:br>
            <a:r>
              <a:rPr lang="ru-RU" dirty="0" smtClean="0"/>
              <a:t>повышение уровня конкуренции при проведении закупок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902669" y="7112481"/>
            <a:ext cx="2495550" cy="153888"/>
          </a:xfrm>
        </p:spPr>
        <p:txBody>
          <a:bodyPr/>
          <a:lstStyle/>
          <a:p>
            <a:pPr algn="r" defTabSz="829658"/>
            <a:fld id="{EA766A79-AB32-43AD-AE8B-DD41AB112B75}" type="slidenum">
              <a:rPr lang="ru-RU" smtClean="0"/>
              <a:pPr algn="r" defTabSz="829658"/>
              <a:t>4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426719" y="1327790"/>
            <a:ext cx="3765035" cy="1234765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algn="just" defTabSz="212168">
              <a:buClr>
                <a:schemeClr val="bg1"/>
              </a:buClr>
            </a:pPr>
            <a:r>
              <a:rPr lang="ru-RU" sz="1600" dirty="0">
                <a:solidFill>
                  <a:schemeClr val="bg1"/>
                </a:solidFill>
              </a:rPr>
              <a:t>И</a:t>
            </a:r>
            <a:r>
              <a:rPr lang="ru-RU" sz="1600" dirty="0" smtClean="0">
                <a:solidFill>
                  <a:schemeClr val="bg1"/>
                </a:solidFill>
              </a:rPr>
              <a:t>нформация </a:t>
            </a:r>
            <a:r>
              <a:rPr lang="ru-RU" sz="1600" dirty="0">
                <a:solidFill>
                  <a:schemeClr val="bg1"/>
                </a:solidFill>
              </a:rPr>
              <a:t>о закупках Группы РусГидро публикуется на сайте «Единая информационная система в сфере закупок» (ЕИС)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775123" y="2389741"/>
            <a:ext cx="1385351" cy="44193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algn="just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План закупок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301948" y="3683862"/>
            <a:ext cx="1209425" cy="45637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algn="just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Положение             о закупке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649296" y="4562444"/>
            <a:ext cx="1394810" cy="6957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Извещения и документации о закупке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8532306" y="2386437"/>
            <a:ext cx="1175178" cy="4019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algn="just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Исполнение договоров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205175" y="3673227"/>
            <a:ext cx="1269813" cy="4561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algn="just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Заключенные договоры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8929222" y="4542838"/>
            <a:ext cx="1263061" cy="6957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0" lvl="1" defTabSz="212168">
              <a:buClr>
                <a:srgbClr val="0C377B"/>
              </a:buClr>
              <a:defRPr/>
            </a:pPr>
            <a:r>
              <a:rPr lang="ru-RU" sz="1200" kern="0" dirty="0">
                <a:solidFill>
                  <a:prstClr val="black"/>
                </a:solidFill>
              </a:rPr>
              <a:t>Результаты закупок</a:t>
            </a:r>
            <a:endParaRPr lang="ru-RU" sz="1200" i="1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125181" y="1522991"/>
            <a:ext cx="45050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212168">
              <a:buClr>
                <a:srgbClr val="0C377B"/>
              </a:buClr>
              <a:defRPr/>
            </a:pPr>
            <a:r>
              <a:rPr lang="ru-RU" sz="1200" b="1" u="sng" kern="0" dirty="0">
                <a:solidFill>
                  <a:prstClr val="black"/>
                </a:solidFill>
              </a:rPr>
              <a:t>Информация на сайте «Единая Информационная </a:t>
            </a:r>
            <a:r>
              <a:rPr lang="ru-RU" sz="1200" b="1" u="sng" kern="0" dirty="0" smtClean="0">
                <a:solidFill>
                  <a:prstClr val="black"/>
                </a:solidFill>
              </a:rPr>
              <a:t>система  в </a:t>
            </a:r>
            <a:r>
              <a:rPr lang="ru-RU" sz="1200" b="1" u="sng" kern="0" dirty="0">
                <a:solidFill>
                  <a:prstClr val="black"/>
                </a:solidFill>
              </a:rPr>
              <a:t>сфере закупок»:</a:t>
            </a:r>
          </a:p>
        </p:txBody>
      </p:sp>
    </p:spTree>
    <p:extLst>
      <p:ext uri="{BB962C8B-B14F-4D97-AF65-F5344CB8AC3E}">
        <p14:creationId xmlns:p14="http://schemas.microsoft.com/office/powerpoint/2010/main" val="19518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458878" y="1967129"/>
            <a:ext cx="5939341" cy="4822969"/>
            <a:chOff x="7582105" y="4415065"/>
            <a:chExt cx="2994771" cy="2674736"/>
          </a:xfrm>
        </p:grpSpPr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582105" y="4415065"/>
              <a:ext cx="2994771" cy="2674736"/>
            </a:xfrm>
            <a:prstGeom prst="rect">
              <a:avLst/>
            </a:prstGeom>
          </p:spPr>
        </p:pic>
        <p:sp>
          <p:nvSpPr>
            <p:cNvPr id="17" name="Прямоугольник 16"/>
            <p:cNvSpPr/>
            <p:nvPr/>
          </p:nvSpPr>
          <p:spPr>
            <a:xfrm>
              <a:off x="7610485" y="4526757"/>
              <a:ext cx="2919355" cy="25139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Коллегиальность принятия решен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5</a:t>
            </a:fld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3860272" y="3739981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52222" y="2168527"/>
            <a:ext cx="2894030" cy="4208248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600" dirty="0">
                <a:solidFill>
                  <a:schemeClr val="bg1"/>
                </a:solidFill>
              </a:rPr>
              <a:t>В Группе предусмотрены 2 вида коллегиальных органов, принимающих непосредственное участие в сфере закупочной деятельности Группы:</a:t>
            </a:r>
          </a:p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600" dirty="0" smtClean="0">
                <a:solidFill>
                  <a:schemeClr val="bg1"/>
                </a:solidFill>
              </a:rPr>
              <a:t>- Центральная </a:t>
            </a:r>
            <a:r>
              <a:rPr lang="ru-RU" sz="1600" dirty="0">
                <a:solidFill>
                  <a:schemeClr val="bg1"/>
                </a:solidFill>
              </a:rPr>
              <a:t>закупочная комиссия (ЦЗК)</a:t>
            </a:r>
          </a:p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600" dirty="0" smtClean="0">
                <a:solidFill>
                  <a:schemeClr val="bg1"/>
                </a:solidFill>
              </a:rPr>
              <a:t>- Закупочная </a:t>
            </a:r>
            <a:r>
              <a:rPr lang="ru-RU" sz="1600" dirty="0">
                <a:solidFill>
                  <a:schemeClr val="bg1"/>
                </a:solidFill>
              </a:rPr>
              <a:t>комиссия / Специальная закупочная комиссия (ЗК/СЗК)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649304" y="2263790"/>
            <a:ext cx="2609335" cy="24200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ЗК</a:t>
            </a:r>
            <a:endParaRPr lang="ru-RU" sz="1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786541" y="2263790"/>
            <a:ext cx="2205437" cy="24200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08000" bIns="36000" rtlCol="0" anchor="t" anchorCtr="0"/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К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649304" y="2716983"/>
            <a:ext cx="2940160" cy="399182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80000" bIns="36000" rtlCol="0" anchor="t" anchorCtr="0"/>
          <a:lstStyle/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Осуществляет согласование проектов планов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ок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ринимает решения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                                о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роведении закупок, не предусмотренных плано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ок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Обеспечивает формирование и проведение единой политики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ок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Осуществляет контроль и координацию закупочной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деятельности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ринимает решения в отношении закупок, параметры которых отличны от утвержденной ГКПЗ (при необходимости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)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 smtClean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Рассмотрение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жалоб</a:t>
            </a: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7682748" y="2637630"/>
            <a:ext cx="2413022" cy="313792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108000" tIns="36000" rIns="180000" bIns="36000" rtlCol="0" anchor="t" anchorCtr="0"/>
          <a:lstStyle/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Согласование Извещения и документации о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ке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Согласование изменений в Извещение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и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документацию о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ке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Рассмотрение заявок и принятие решений о допуске участников к дальнейшим процедура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закупки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ринятие решений о проведении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ереторжки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</a:rPr>
              <a:t>Подведение итогов, выбор победителя</a:t>
            </a: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  <a:p>
            <a:pPr marL="171450" lvl="1" indent="-171450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buFont typeface="Arial" pitchFamily="34" charset="0"/>
              <a:buChar char="►"/>
              <a:defRPr/>
            </a:pPr>
            <a:endParaRPr lang="ru-RU" sz="1200" dirty="0">
              <a:solidFill>
                <a:schemeClr val="bg1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5995230" y="1376696"/>
            <a:ext cx="319999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defRPr/>
            </a:pPr>
            <a:r>
              <a:rPr lang="ru-RU" sz="1400" b="1" u="sng" kern="0" dirty="0" smtClean="0">
                <a:solidFill>
                  <a:prstClr val="black"/>
                </a:solidFill>
              </a:rPr>
              <a:t>Основной функционал ЦЗК/ЗК:</a:t>
            </a:r>
            <a:endParaRPr lang="ru-RU" sz="1400" b="1" u="sng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062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9467" y="4388572"/>
            <a:ext cx="1801784" cy="253989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8568964" y="4308049"/>
            <a:ext cx="1998483" cy="85962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814" y="5167672"/>
            <a:ext cx="891688" cy="125697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0829" y="5469945"/>
            <a:ext cx="1043964" cy="14716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Выполнение норм законодательства РФ, соблюдение директив и интересов государства, внутренняя система регламента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6</a:t>
            </a:fld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4459473" y="3516122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" name="Picture 3" descr="C:\Users\Mac\Documents\ПАО РУСГИДРО\Текущие задачи\Корректировка процессов\Примеры по приложениям\12 лот\2 лист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Grayscale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9640" y="1356426"/>
            <a:ext cx="1486561" cy="199891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C:\Users\Mac\Documents\ПАО РУСГИДРО\Текущие задачи\Корректировка процессов\Примеры по приложениям\12 лот\2 лист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Grayscale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5857" y="1572652"/>
            <a:ext cx="1551146" cy="2085756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Mac\Documents\ПАО РУСГИДРО\Текущие задачи\Корректировка процессов\Примеры по приложениям\12 лот\2 лист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9796" y="2801409"/>
            <a:ext cx="1366076" cy="183690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" descr="C:\Users\Mac\Documents\ПАО РУСГИДРО\Текущие задачи\Корректировка процессов\Примеры по приложениям\12 лот\2 лист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701" y="4584263"/>
            <a:ext cx="1105561" cy="148659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 descr="C:\Users\Mac\Documents\ПАО РУСГИДРО\Текущие задачи\Корректировка процессов\Примеры по приложениям\12 лот\2 лист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603" y="5684957"/>
            <a:ext cx="817681" cy="109949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498773" y="1356426"/>
            <a:ext cx="3478485" cy="5428029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  <a:defRPr/>
            </a:pPr>
            <a:r>
              <a:rPr lang="ru-RU" sz="1600" dirty="0">
                <a:solidFill>
                  <a:schemeClr val="bg1"/>
                </a:solidFill>
              </a:rPr>
              <a:t>Закупочная деятельность Группы РусГидро осуществляется в порядке, определенном внутренними локальными нормативными актами (ЛНА) </a:t>
            </a:r>
            <a:r>
              <a:rPr lang="ru-RU" sz="1600" dirty="0" smtClean="0">
                <a:solidFill>
                  <a:schemeClr val="bg1"/>
                </a:solidFill>
              </a:rPr>
              <a:t>Группы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  <a:defRPr/>
            </a:pPr>
            <a:endParaRPr lang="ru-RU" sz="1600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  <a:defRPr/>
            </a:pPr>
            <a:r>
              <a:rPr lang="ru-RU" sz="1600" dirty="0">
                <a:solidFill>
                  <a:schemeClr val="bg1"/>
                </a:solidFill>
              </a:rPr>
              <a:t>ЛНА Группы разрабатываются с учетом требований законодательства РФ, Постановлений Правительства и отдельных Директив, регламентирующих закупочную </a:t>
            </a:r>
            <a:r>
              <a:rPr lang="ru-RU" sz="1600" dirty="0" smtClean="0">
                <a:solidFill>
                  <a:schemeClr val="bg1"/>
                </a:solidFill>
              </a:rPr>
              <a:t>деятельность</a:t>
            </a: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  <a:defRPr/>
            </a:pPr>
            <a:endParaRPr lang="ru-RU" sz="1600" dirty="0">
              <a:solidFill>
                <a:schemeClr val="bg1"/>
              </a:solidFill>
            </a:endParaRPr>
          </a:p>
          <a:p>
            <a:pPr marL="171450" lvl="1" indent="-171450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►"/>
              <a:defRPr/>
            </a:pPr>
            <a:r>
              <a:rPr lang="ru-RU" sz="1600" dirty="0">
                <a:solidFill>
                  <a:schemeClr val="bg1"/>
                </a:solidFill>
              </a:rPr>
              <a:t>Группа РусГидро оперативно реагирует на любые изменения законодательства РФ, в сфере закупочной деятельности, путем внесения соответствующих изменений в ЛНА Группы</a:t>
            </a:r>
          </a:p>
        </p:txBody>
      </p:sp>
      <p:sp>
        <p:nvSpPr>
          <p:cNvPr id="32" name="Скругленная прямоугольная выноска 31"/>
          <p:cNvSpPr/>
          <p:nvPr/>
        </p:nvSpPr>
        <p:spPr>
          <a:xfrm>
            <a:off x="5694679" y="1410523"/>
            <a:ext cx="3016930" cy="563684"/>
          </a:xfrm>
          <a:prstGeom prst="wedgeRoundRectCallout">
            <a:avLst>
              <a:gd name="adj1" fmla="val -55198"/>
              <a:gd name="adj2" fmla="val 40480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1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Федеральный закон от 18.07.2011г. </a:t>
            </a:r>
            <a:r>
              <a:rPr lang="ru-RU" sz="11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             </a:t>
            </a:r>
            <a:r>
              <a:rPr lang="ru-RU" sz="14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№ </a:t>
            </a:r>
            <a:r>
              <a:rPr lang="ru-RU" sz="14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223-ФЗ </a:t>
            </a:r>
            <a:r>
              <a:rPr lang="ru-RU" sz="1100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«О закупках, товаров, работ, услуг отдельными видами юридических лиц»</a:t>
            </a:r>
          </a:p>
        </p:txBody>
      </p:sp>
      <p:sp>
        <p:nvSpPr>
          <p:cNvPr id="33" name="Скругленная прямоугольная выноска 32"/>
          <p:cNvSpPr/>
          <p:nvPr/>
        </p:nvSpPr>
        <p:spPr>
          <a:xfrm>
            <a:off x="6766328" y="2105966"/>
            <a:ext cx="3016930" cy="563684"/>
          </a:xfrm>
          <a:prstGeom prst="wedgeRoundRectCallout">
            <a:avLst>
              <a:gd name="adj1" fmla="val 60101"/>
              <a:gd name="adj2" fmla="val 48842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1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Федеральный закон от 26.07.2006г. </a:t>
            </a:r>
            <a:r>
              <a:rPr lang="ru-RU" sz="11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                     </a:t>
            </a:r>
            <a:r>
              <a:rPr lang="ru-RU" sz="14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№ </a:t>
            </a:r>
            <a:r>
              <a:rPr lang="ru-RU" sz="14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135-ФЗ </a:t>
            </a:r>
            <a:r>
              <a:rPr lang="ru-RU" sz="1100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«О защите конкуренции»</a:t>
            </a:r>
          </a:p>
        </p:txBody>
      </p:sp>
      <p:sp>
        <p:nvSpPr>
          <p:cNvPr id="34" name="Скругленная прямоугольная выноска 33"/>
          <p:cNvSpPr/>
          <p:nvPr/>
        </p:nvSpPr>
        <p:spPr>
          <a:xfrm>
            <a:off x="5346701" y="3516122"/>
            <a:ext cx="4751410" cy="563684"/>
          </a:xfrm>
          <a:prstGeom prst="wedgeRoundRectCallout">
            <a:avLst>
              <a:gd name="adj1" fmla="val -4266"/>
              <a:gd name="adj2" fmla="val -74912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1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Постановление Правительства РФ от 11.12.2014г. </a:t>
            </a:r>
            <a:r>
              <a:rPr lang="ru-RU" sz="14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№ 1352 </a:t>
            </a:r>
            <a:r>
              <a:rPr lang="ru-RU" sz="1100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«Об особенностях участия субъектов малого и среднего предпринимательства в закупках товаров, работ, услуг отдельными видами юридических лиц»</a:t>
            </a:r>
          </a:p>
        </p:txBody>
      </p:sp>
      <p:sp>
        <p:nvSpPr>
          <p:cNvPr id="35" name="Скругленная прямоугольная выноска 34"/>
          <p:cNvSpPr/>
          <p:nvPr/>
        </p:nvSpPr>
        <p:spPr>
          <a:xfrm>
            <a:off x="4716856" y="4623764"/>
            <a:ext cx="5831234" cy="758920"/>
          </a:xfrm>
          <a:prstGeom prst="wedgeRoundRectCallout">
            <a:avLst>
              <a:gd name="adj1" fmla="val -35133"/>
              <a:gd name="adj2" fmla="val 78243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1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Постановление Правительства РФ от 16.09.2016г. </a:t>
            </a:r>
            <a:r>
              <a:rPr lang="ru-RU" sz="1400" b="1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№ 925 </a:t>
            </a:r>
            <a:r>
              <a:rPr lang="ru-RU" sz="1100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«О приоритете товаров российского происхождения, работ, услуг, выполняемых, оказываемых российскими лицами, по отношению к товарам, происходящим из иностранного государства, работам, услугам, выполняемым, выполняемым, оказываемым иностранными лицами»</a:t>
            </a:r>
          </a:p>
        </p:txBody>
      </p:sp>
      <p:sp>
        <p:nvSpPr>
          <p:cNvPr id="36" name="Скругленная прямоугольная выноска 35"/>
          <p:cNvSpPr/>
          <p:nvPr/>
        </p:nvSpPr>
        <p:spPr>
          <a:xfrm>
            <a:off x="6914915" y="6070862"/>
            <a:ext cx="3016930" cy="244392"/>
          </a:xfrm>
          <a:prstGeom prst="wedgeRoundRectCallout">
            <a:avLst>
              <a:gd name="adj1" fmla="val 1045"/>
              <a:gd name="adj2" fmla="val 134753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r>
              <a:rPr lang="ru-RU" sz="1100" b="1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Директивы</a:t>
            </a:r>
            <a:endParaRPr lang="ru-RU" sz="1100" b="1" kern="0" dirty="0">
              <a:solidFill>
                <a:schemeClr val="tx1">
                  <a:lumMod val="50000"/>
                </a:scheme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63809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2708660" y="5131428"/>
            <a:ext cx="2799658" cy="772951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2708659" y="5104747"/>
            <a:ext cx="2799657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00" dirty="0" smtClean="0">
                <a:solidFill>
                  <a:srgbClr val="DC5A20"/>
                </a:solidFill>
              </a:rPr>
              <a:t>НА КАКИХ УСЛОВИЯХ?</a:t>
            </a:r>
          </a:p>
          <a:p>
            <a:pPr marL="171450" indent="-171450">
              <a:buFontTx/>
              <a:buChar char="-"/>
            </a:pPr>
            <a:r>
              <a:rPr lang="ru-RU" sz="1000" b="0" dirty="0" smtClean="0">
                <a:solidFill>
                  <a:schemeClr val="tx2"/>
                </a:solidFill>
              </a:rPr>
              <a:t>Полная конфиденциальность сведений, содержащихся в обращении заявителя</a:t>
            </a:r>
          </a:p>
          <a:p>
            <a:pPr marL="171450" indent="-171450">
              <a:buFontTx/>
              <a:buChar char="-"/>
            </a:pPr>
            <a:r>
              <a:rPr lang="ru-RU" sz="1000" b="0" dirty="0" smtClean="0">
                <a:solidFill>
                  <a:schemeClr val="tx2"/>
                </a:solidFill>
              </a:rPr>
              <a:t>По желанию обращение можно оставить анонимно</a:t>
            </a:r>
            <a:endParaRPr lang="ru-RU" sz="1000" b="0" dirty="0">
              <a:solidFill>
                <a:schemeClr val="tx2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Снижение коррупционных риск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 smtClean="0"/>
              <a:pPr algn="r" defTabSz="1042900"/>
              <a:t>7</a:t>
            </a:fld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5248690" y="1630187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33389" y="1364222"/>
            <a:ext cx="4611848" cy="2484618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600" dirty="0">
                <a:solidFill>
                  <a:schemeClr val="bg1"/>
                </a:solidFill>
              </a:rPr>
              <a:t>В Группе на постоянной основе работает «Линия доверия» – доступный канал коммуникации для обращений работников Группы и третьих лиц             (в том числе контрагентов) по вопросам противодействия мошенничеству и коррупции, пресечения противоправных действий со стороны работников Группы и конфликтов интересов, совершенствования деятельности Группы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6257490" y="1351226"/>
            <a:ext cx="308600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26670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C377B"/>
              </a:buClr>
              <a:defRPr/>
            </a:pPr>
            <a:r>
              <a:rPr lang="ru-RU" sz="1200" b="1" u="sng" kern="0" dirty="0" smtClean="0">
                <a:solidFill>
                  <a:prstClr val="black"/>
                </a:solidFill>
              </a:rPr>
              <a:t>Порядок работы «ЛИНИИ ДОВЕРИЯ»:</a:t>
            </a:r>
            <a:endParaRPr lang="ru-RU" sz="1200" b="1" u="sng" kern="0" dirty="0">
              <a:solidFill>
                <a:prstClr val="black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278890" y="2630071"/>
            <a:ext cx="4854924" cy="541192"/>
          </a:xfrm>
          <a:prstGeom prst="rect">
            <a:avLst/>
          </a:prstGeom>
          <a:solidFill>
            <a:schemeClr val="bg1"/>
          </a:solidFill>
          <a:ln w="3810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ЛИНИЯ ДОВЕРИЯ</a:t>
            </a:r>
            <a:endParaRPr lang="ru-RU" sz="2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6954" y="2658792"/>
            <a:ext cx="970006" cy="38134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885619" y="2247730"/>
            <a:ext cx="22300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+ 7 (495) 710-54-63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6126423" y="2170734"/>
            <a:ext cx="321511" cy="558113"/>
          </a:xfrm>
          <a:prstGeom prst="downArrow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5879432" y="1810988"/>
            <a:ext cx="3632213" cy="41995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879432" y="3420522"/>
            <a:ext cx="3632213" cy="75072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890245" y="4934500"/>
            <a:ext cx="3632213" cy="46968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2" name="Стрелка вниз 51"/>
          <p:cNvSpPr/>
          <p:nvPr/>
        </p:nvSpPr>
        <p:spPr>
          <a:xfrm>
            <a:off x="6126423" y="4809145"/>
            <a:ext cx="321511" cy="306839"/>
          </a:xfrm>
          <a:prstGeom prst="downArrow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5879431" y="4339462"/>
            <a:ext cx="3632213" cy="46968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" name="Стрелка вниз 49"/>
          <p:cNvSpPr/>
          <p:nvPr/>
        </p:nvSpPr>
        <p:spPr>
          <a:xfrm>
            <a:off x="6126423" y="4173006"/>
            <a:ext cx="321511" cy="314477"/>
          </a:xfrm>
          <a:prstGeom prst="downArrow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>
            <a:off x="6117535" y="3171263"/>
            <a:ext cx="330399" cy="375605"/>
          </a:xfrm>
          <a:prstGeom prst="downArrow">
            <a:avLst/>
          </a:prstGeom>
          <a:solidFill>
            <a:schemeClr val="accent1">
              <a:lumMod val="75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7311727" y="3396873"/>
            <a:ext cx="2548714" cy="7386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50" dirty="0"/>
              <a:t>Предварительный анализ </a:t>
            </a:r>
          </a:p>
          <a:p>
            <a:r>
              <a:rPr lang="ru-RU" sz="1050" dirty="0"/>
              <a:t>и проверка фактов,</a:t>
            </a:r>
          </a:p>
          <a:p>
            <a:r>
              <a:rPr lang="ru-RU" sz="1050" dirty="0"/>
              <a:t>в случае необходимости </a:t>
            </a:r>
          </a:p>
          <a:p>
            <a:r>
              <a:rPr lang="ru-RU" sz="1050" dirty="0"/>
              <a:t>проведение расследования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291622" y="1806981"/>
            <a:ext cx="226716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50" dirty="0"/>
              <a:t>Обращение по телефону </a:t>
            </a:r>
          </a:p>
          <a:p>
            <a:r>
              <a:rPr lang="ru-RU" sz="1050" dirty="0"/>
              <a:t>или электронной почте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341564" y="4322849"/>
            <a:ext cx="172419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</a:rPr>
              <a:t>Принятие мер </a:t>
            </a:r>
          </a:p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</a:rPr>
              <a:t>по результатам</a:t>
            </a:r>
            <a:endParaRPr lang="ru-RU" sz="105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341563" y="4920599"/>
            <a:ext cx="172419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</a:rPr>
              <a:t>Ответ заявителю </a:t>
            </a:r>
          </a:p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</a:rPr>
              <a:t>на его обращение</a:t>
            </a:r>
            <a:endParaRPr lang="ru-RU" sz="105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292610" y="4433029"/>
            <a:ext cx="5215705" cy="541192"/>
          </a:xfrm>
          <a:prstGeom prst="rect">
            <a:avLst/>
          </a:prstGeom>
          <a:solidFill>
            <a:schemeClr val="bg1"/>
          </a:solidFill>
          <a:ln w="38100">
            <a:solidFill>
              <a:srgbClr val="DC5A2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Что такое </a:t>
            </a:r>
          </a:p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«ЛИНИЯ ДОВЕРИЯ РУСГИДРО»?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290505" y="5139934"/>
            <a:ext cx="2310664" cy="7644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290504" y="6003341"/>
            <a:ext cx="2310665" cy="86446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2708659" y="6003341"/>
            <a:ext cx="2799657" cy="864468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81078" y="5103779"/>
            <a:ext cx="2536030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00" dirty="0" smtClean="0">
                <a:solidFill>
                  <a:srgbClr val="DC5A20"/>
                </a:solidFill>
              </a:rPr>
              <a:t>ДЛЯ КОГО?</a:t>
            </a:r>
          </a:p>
          <a:p>
            <a:r>
              <a:rPr lang="ru-RU" sz="1000" b="0" dirty="0" smtClean="0">
                <a:solidFill>
                  <a:schemeClr val="tx2"/>
                </a:solidFill>
              </a:rPr>
              <a:t>Сотрудники РусГидро, контрагенты </a:t>
            </a:r>
          </a:p>
          <a:p>
            <a:r>
              <a:rPr lang="ru-RU" sz="1000" b="0" dirty="0" smtClean="0">
                <a:solidFill>
                  <a:schemeClr val="tx2"/>
                </a:solidFill>
              </a:rPr>
              <a:t>и партнеры Группы</a:t>
            </a:r>
            <a:endParaRPr lang="ru-RU" sz="1000" b="0" dirty="0">
              <a:solidFill>
                <a:schemeClr val="tx2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90504" y="6036402"/>
            <a:ext cx="2310665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00" dirty="0" smtClean="0">
                <a:solidFill>
                  <a:srgbClr val="DC5A20"/>
                </a:solidFill>
              </a:rPr>
              <a:t>В КАКИХ СЛУЧАЯХ?</a:t>
            </a:r>
          </a:p>
          <a:p>
            <a:r>
              <a:rPr lang="ru-RU" sz="1000" b="0" dirty="0" smtClean="0">
                <a:solidFill>
                  <a:schemeClr val="tx2"/>
                </a:solidFill>
              </a:rPr>
              <a:t>Признаки нарушения законодательства или несоблюдение внутренних норм и стандартов</a:t>
            </a:r>
            <a:endParaRPr lang="ru-RU" sz="1000" b="0" dirty="0">
              <a:solidFill>
                <a:schemeClr val="tx2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699311" y="6002249"/>
            <a:ext cx="2693355" cy="86177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sz="1000" dirty="0" smtClean="0">
                <a:solidFill>
                  <a:srgbClr val="DC5A20"/>
                </a:solidFill>
              </a:rPr>
              <a:t>КАК?</a:t>
            </a:r>
          </a:p>
          <a:p>
            <a:r>
              <a:rPr lang="ru-RU" sz="1000" b="0" dirty="0" smtClean="0">
                <a:solidFill>
                  <a:schemeClr val="tx2"/>
                </a:solidFill>
              </a:rPr>
              <a:t>Оставить сообщение вы можете по телефону (автоответчик) </a:t>
            </a:r>
            <a:r>
              <a:rPr lang="ru-RU" sz="1000" dirty="0" smtClean="0">
                <a:solidFill>
                  <a:schemeClr val="tx2"/>
                </a:solidFill>
              </a:rPr>
              <a:t>+7 (495) 710-54-63</a:t>
            </a:r>
            <a:r>
              <a:rPr lang="ru-RU" sz="1000" b="0" dirty="0" smtClean="0">
                <a:solidFill>
                  <a:schemeClr val="tx2"/>
                </a:solidFill>
              </a:rPr>
              <a:t>,</a:t>
            </a:r>
          </a:p>
          <a:p>
            <a:r>
              <a:rPr lang="ru-RU" sz="1000" b="0" dirty="0" smtClean="0">
                <a:solidFill>
                  <a:schemeClr val="tx2"/>
                </a:solidFill>
              </a:rPr>
              <a:t>Написав на </a:t>
            </a:r>
            <a:r>
              <a:rPr lang="en-US" sz="1000" b="0" dirty="0" smtClean="0">
                <a:solidFill>
                  <a:schemeClr val="tx2"/>
                </a:solidFill>
                <a:hlinkClick r:id="rId3"/>
              </a:rPr>
              <a:t>http</a:t>
            </a:r>
            <a:r>
              <a:rPr lang="ru-RU" sz="1000" b="0" dirty="0" smtClean="0">
                <a:solidFill>
                  <a:schemeClr val="tx2"/>
                </a:solidFill>
                <a:hlinkClick r:id="rId3"/>
              </a:rPr>
              <a:t>:</a:t>
            </a:r>
            <a:r>
              <a:rPr lang="en-US" sz="1000" b="0" dirty="0" smtClean="0">
                <a:solidFill>
                  <a:schemeClr val="tx2"/>
                </a:solidFill>
                <a:hlinkClick r:id="rId3"/>
              </a:rPr>
              <a:t>//www.rushydro.ru/form/</a:t>
            </a:r>
            <a:r>
              <a:rPr lang="en-US" sz="1000" b="0" dirty="0" smtClean="0">
                <a:solidFill>
                  <a:schemeClr val="tx2"/>
                </a:solidFill>
              </a:rPr>
              <a:t>. </a:t>
            </a:r>
            <a:endParaRPr lang="ru-RU" sz="1000" b="0" dirty="0">
              <a:solidFill>
                <a:schemeClr val="tx2"/>
              </a:solidFill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5737992" y="5567389"/>
            <a:ext cx="4744613" cy="130042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00" i="1" dirty="0" smtClean="0">
                <a:solidFill>
                  <a:srgbClr val="FF0000"/>
                </a:solidFill>
              </a:rPr>
              <a:t>В 2015 году было рассмотрено 111 обращений, из них 11 касались тем закупочной деятельности</a:t>
            </a:r>
            <a:r>
              <a:rPr lang="ru-RU" sz="1000" i="1" dirty="0">
                <a:solidFill>
                  <a:srgbClr val="FF0000"/>
                </a:solidFill>
              </a:rPr>
              <a:t>. По 7 из 111 рассмотренных обращений подтвердились сведения о противоправных действиях и нарушениях прав заявителей, в том числе в рамках проведенных служебных расследований (принято решение о проведении 2 служебных расследований по обращениям на Линию доверия). По результатам рассмотрения подтвержденных обращений приняты меры дисциплинарного, мотивационного и организационного воздейств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7535" y="1832299"/>
            <a:ext cx="379171" cy="37298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118" y="3479598"/>
            <a:ext cx="735152" cy="59995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090" y="4346779"/>
            <a:ext cx="506253" cy="48104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734" y="4970209"/>
            <a:ext cx="506253" cy="456661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433" y="4487483"/>
            <a:ext cx="1094802" cy="478993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>
                        <a14:foregroundMark x1="20779" y1="28729" x2="20779" y2="28729"/>
                        <a14:foregroundMark x1="44675" y1="27624" x2="44675" y2="27624"/>
                        <a14:foregroundMark x1="70390" y1="28729" x2="70390" y2="28729"/>
                        <a14:foregroundMark x1="63117" y1="29282" x2="63117" y2="29282"/>
                        <a14:foregroundMark x1="78442" y1="28729" x2="78442" y2="28729"/>
                        <a14:foregroundMark x1="77922" y1="16575" x2="77922" y2="16575"/>
                        <a14:foregroundMark x1="64156" y1="16575" x2="64156" y2="16575"/>
                        <a14:foregroundMark x1="63377" y1="21547" x2="63377" y2="21547"/>
                        <a14:foregroundMark x1="63377" y1="20994" x2="63377" y2="20994"/>
                        <a14:foregroundMark x1="78442" y1="21547" x2="78442" y2="21547"/>
                        <a14:foregroundMark x1="81299" y1="61326" x2="81299" y2="61326"/>
                        <a14:foregroundMark x1="52987" y1="70718" x2="52987" y2="70718"/>
                        <a14:foregroundMark x1="8571" y1="70166" x2="8571" y2="70166"/>
                        <a14:foregroundMark x1="85714" y1="84530" x2="85714" y2="84530"/>
                      </a14:backgroundRemoval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0613" y="2661170"/>
            <a:ext cx="1094802" cy="478993"/>
          </a:xfrm>
          <a:prstGeom prst="rect">
            <a:avLst/>
          </a:prstGeom>
        </p:spPr>
      </p:pic>
      <p:sp>
        <p:nvSpPr>
          <p:cNvPr id="63" name="Стрелка вправо 62"/>
          <p:cNvSpPr/>
          <p:nvPr/>
        </p:nvSpPr>
        <p:spPr>
          <a:xfrm rot="5400000">
            <a:off x="2457193" y="3825002"/>
            <a:ext cx="287951" cy="667051"/>
          </a:xfrm>
          <a:prstGeom prst="rightArrow">
            <a:avLst/>
          </a:prstGeom>
          <a:solidFill>
            <a:srgbClr val="DC5A20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108000" tIns="36000" rIns="108000" bIns="36000" numCol="1" spcCol="1270" anchor="ctr" anchorCtr="0">
            <a:noAutofit/>
          </a:bodyPr>
          <a:lstStyle/>
          <a:p>
            <a:pPr algn="ctr" defTabSz="22225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</a:pPr>
            <a:endParaRPr lang="ru-RU" sz="1400" b="1" kern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4606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Сравнительный </a:t>
            </a:r>
            <a:r>
              <a:rPr lang="ru-RU" dirty="0"/>
              <a:t>анализ </a:t>
            </a:r>
            <a:r>
              <a:rPr lang="ru-RU" dirty="0" smtClean="0"/>
              <a:t>закупочной деятельности                  ПАО «РусГидро» по </a:t>
            </a:r>
            <a:r>
              <a:rPr lang="ru-RU" dirty="0"/>
              <a:t>годам (2015-2017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1042900"/>
            <a:fld id="{EA766A79-AB32-43AD-AE8B-DD41AB112B75}" type="slidenum">
              <a:rPr lang="ru-RU"/>
              <a:pPr algn="r" defTabSz="1042900"/>
              <a:t>8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7542"/>
            <a:ext cx="3476909" cy="203046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2192" y="4248838"/>
            <a:ext cx="4438040" cy="253229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741" y="4248839"/>
            <a:ext cx="4216753" cy="253229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1846" y="1527542"/>
            <a:ext cx="3959701" cy="215940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64529" y="1472123"/>
            <a:ext cx="3762729" cy="2153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118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менение электронной коммер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829658"/>
            <a:fld id="{EA766A79-AB32-43AD-AE8B-DD41AB112B75}" type="slidenum">
              <a:rPr lang="ru-RU" smtClean="0"/>
              <a:pPr algn="r" defTabSz="829658"/>
              <a:t>9</a:t>
            </a:fld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929641" y="1783080"/>
            <a:ext cx="3304088" cy="2747855"/>
          </a:xfrm>
          <a:prstGeom prst="rect">
            <a:avLst/>
          </a:prstGeom>
          <a:solidFill>
            <a:srgbClr val="0C377B"/>
          </a:solidFill>
          <a:ln>
            <a:noFill/>
          </a:ln>
          <a:effectLst/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marL="136393" lvl="1" indent="-136393" algn="just" defTabSz="212168"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 smtClean="0">
                <a:solidFill>
                  <a:schemeClr val="bg1"/>
                </a:solidFill>
              </a:rPr>
              <a:t>В 2017 году для Группы </a:t>
            </a:r>
            <a:r>
              <a:rPr lang="ru-RU" sz="1600" dirty="0" err="1" smtClean="0">
                <a:solidFill>
                  <a:schemeClr val="bg1"/>
                </a:solidFill>
              </a:rPr>
              <a:t>РусГидро</a:t>
            </a:r>
            <a:r>
              <a:rPr lang="ru-RU" sz="1600" dirty="0" smtClean="0">
                <a:solidFill>
                  <a:schemeClr val="bg1"/>
                </a:solidFill>
              </a:rPr>
              <a:t> разработана персональная секция на электронной площадке </a:t>
            </a:r>
            <a:r>
              <a:rPr lang="ru-RU" sz="1600" dirty="0" err="1" smtClean="0">
                <a:solidFill>
                  <a:schemeClr val="bg1"/>
                </a:solidFill>
              </a:rPr>
              <a:t>Росэлторг</a:t>
            </a:r>
            <a:endParaRPr lang="ru-RU" sz="1600" dirty="0" smtClean="0">
              <a:solidFill>
                <a:schemeClr val="bg1"/>
              </a:solidFill>
            </a:endParaRPr>
          </a:p>
          <a:p>
            <a:pPr marL="136393" lvl="1" indent="-136393" algn="just" defTabSz="212168">
              <a:buClr>
                <a:schemeClr val="bg1"/>
              </a:buClr>
              <a:buFont typeface="Arial" pitchFamily="34" charset="0"/>
              <a:buChar char="►"/>
            </a:pPr>
            <a:endParaRPr lang="ru-RU" sz="1600" dirty="0">
              <a:solidFill>
                <a:schemeClr val="bg1"/>
              </a:solidFill>
            </a:endParaRPr>
          </a:p>
          <a:p>
            <a:pPr marL="136393" lvl="1" indent="-136393" algn="just" defTabSz="212168">
              <a:buClr>
                <a:schemeClr val="bg1"/>
              </a:buClr>
              <a:buFont typeface="Arial" pitchFamily="34" charset="0"/>
              <a:buChar char="►"/>
            </a:pPr>
            <a:r>
              <a:rPr lang="ru-RU" sz="1600" dirty="0" smtClean="0">
                <a:solidFill>
                  <a:schemeClr val="bg1"/>
                </a:solidFill>
              </a:rPr>
              <a:t>Все предприятия Группы осуществляют закупки в электронном виде на единой электронной площадке</a:t>
            </a:r>
            <a:endParaRPr lang="ru-RU" sz="1600" dirty="0">
              <a:solidFill>
                <a:srgbClr val="DC5A20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542" y="4276181"/>
            <a:ext cx="4754484" cy="267439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9" name="Скругленная прямоугольная выноска 28"/>
          <p:cNvSpPr/>
          <p:nvPr/>
        </p:nvSpPr>
        <p:spPr>
          <a:xfrm>
            <a:off x="1221983" y="5014547"/>
            <a:ext cx="3011746" cy="1569132"/>
          </a:xfrm>
          <a:prstGeom prst="wedgeRoundRectCallout">
            <a:avLst>
              <a:gd name="adj1" fmla="val 119378"/>
              <a:gd name="adj2" fmla="val -82279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algn="ctr" defTabSz="176807">
              <a:lnSpc>
                <a:spcPct val="90000"/>
              </a:lnSpc>
              <a:spcAft>
                <a:spcPct val="35000"/>
              </a:spcAft>
            </a:pPr>
            <a:endParaRPr lang="ru-RU" sz="954" kern="0" dirty="0">
              <a:solidFill>
                <a:schemeClr val="tx1">
                  <a:lumMod val="50000"/>
                </a:schemeClr>
              </a:solidFill>
              <a:latin typeface="Calibri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875" y="5188477"/>
            <a:ext cx="2951854" cy="972179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6162123" y="2846784"/>
            <a:ext cx="2475220" cy="144472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2"/>
          </a:p>
        </p:txBody>
      </p:sp>
      <p:grpSp>
        <p:nvGrpSpPr>
          <p:cNvPr id="24" name="Группа 23"/>
          <p:cNvGrpSpPr/>
          <p:nvPr/>
        </p:nvGrpSpPr>
        <p:grpSpPr>
          <a:xfrm>
            <a:off x="5232422" y="1899259"/>
            <a:ext cx="2642981" cy="2055197"/>
            <a:chOff x="3497515" y="4356881"/>
            <a:chExt cx="3322385" cy="2583506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3497515" y="4356881"/>
              <a:ext cx="3322385" cy="2560200"/>
              <a:chOff x="3497515" y="4356881"/>
              <a:chExt cx="3322385" cy="2560200"/>
            </a:xfrm>
          </p:grpSpPr>
          <p:graphicFrame>
            <p:nvGraphicFramePr>
              <p:cNvPr id="41" name="Диаграмма 40"/>
              <p:cNvGraphicFramePr/>
              <p:nvPr>
                <p:extLst>
                  <p:ext uri="{D42A27DB-BD31-4B8C-83A1-F6EECF244321}">
                    <p14:modId xmlns:p14="http://schemas.microsoft.com/office/powerpoint/2010/main" val="1276255902"/>
                  </p:ext>
                </p:extLst>
              </p:nvPr>
            </p:nvGraphicFramePr>
            <p:xfrm>
              <a:off x="3497515" y="4356881"/>
              <a:ext cx="2783323" cy="25602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42" name="TextBox 1"/>
              <p:cNvSpPr txBox="1"/>
              <p:nvPr/>
            </p:nvSpPr>
            <p:spPr>
              <a:xfrm>
                <a:off x="5829300" y="5330188"/>
                <a:ext cx="990600" cy="419104"/>
              </a:xfrm>
              <a:prstGeom prst="rect">
                <a:avLst/>
              </a:prstGeom>
            </p:spPr>
            <p:txBody>
              <a:bodyPr wrap="squar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75" dirty="0">
                    <a:solidFill>
                      <a:srgbClr val="000000"/>
                    </a:solidFill>
                  </a:rPr>
                  <a:t> </a:t>
                </a:r>
              </a:p>
            </p:txBody>
          </p:sp>
        </p:grpSp>
        <p:sp>
          <p:nvSpPr>
            <p:cNvPr id="40" name="TextBox 1"/>
            <p:cNvSpPr txBox="1"/>
            <p:nvPr/>
          </p:nvSpPr>
          <p:spPr>
            <a:xfrm>
              <a:off x="5726654" y="6521283"/>
              <a:ext cx="990600" cy="419104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875" dirty="0">
                  <a:solidFill>
                    <a:srgbClr val="000000"/>
                  </a:solidFill>
                </a:rPr>
                <a:t> (</a:t>
              </a:r>
              <a:r>
                <a:rPr lang="ru-RU" sz="716" dirty="0">
                  <a:solidFill>
                    <a:srgbClr val="000000"/>
                  </a:solidFill>
                </a:rPr>
                <a:t>факт</a:t>
              </a:r>
              <a:r>
                <a:rPr lang="ru-RU" sz="875" dirty="0">
                  <a:solidFill>
                    <a:srgbClr val="000000"/>
                  </a:solidFill>
                </a:rPr>
                <a:t>)</a:t>
              </a:r>
            </a:p>
          </p:txBody>
        </p:sp>
      </p:grpSp>
      <p:sp>
        <p:nvSpPr>
          <p:cNvPr id="43" name="Скругленная прямоугольная выноска 42"/>
          <p:cNvSpPr/>
          <p:nvPr/>
        </p:nvSpPr>
        <p:spPr>
          <a:xfrm>
            <a:off x="7768766" y="1899259"/>
            <a:ext cx="2723529" cy="1516299"/>
          </a:xfrm>
          <a:prstGeom prst="wedgeRoundRectCallout">
            <a:avLst>
              <a:gd name="adj1" fmla="val -70519"/>
              <a:gd name="adj2" fmla="val -4"/>
              <a:gd name="adj3" fmla="val 16667"/>
            </a:avLst>
          </a:prstGeom>
          <a:solidFill>
            <a:srgbClr val="FDFFEB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flat" dir="t"/>
          </a:scene3d>
          <a:sp3d prstMaterial="dkEdge">
            <a:bevelT w="8200" h="38100"/>
          </a:sp3d>
        </p:spPr>
        <p:txBody>
          <a:bodyPr spcFirstLastPara="0" vert="horz" wrap="square" lIns="85915" tIns="28639" rIns="85915" bIns="28639" numCol="1" spcCol="1270" anchor="ctr" anchorCtr="0">
            <a:noAutofit/>
          </a:bodyPr>
          <a:lstStyle/>
          <a:p>
            <a:pPr algn="ctr" defTabSz="176807">
              <a:lnSpc>
                <a:spcPct val="90000"/>
              </a:lnSpc>
              <a:spcAft>
                <a:spcPct val="35000"/>
              </a:spcAft>
            </a:pPr>
            <a:r>
              <a:rPr lang="ru-RU" sz="1400" kern="0" dirty="0" smtClean="0">
                <a:solidFill>
                  <a:schemeClr val="tx1">
                    <a:lumMod val="50000"/>
                  </a:schemeClr>
                </a:solidFill>
                <a:latin typeface="Calibri"/>
              </a:rPr>
              <a:t>96% </a:t>
            </a:r>
            <a:r>
              <a:rPr lang="ru-RU" sz="1400" kern="0" dirty="0">
                <a:solidFill>
                  <a:schemeClr val="tx1">
                    <a:lumMod val="50000"/>
                  </a:schemeClr>
                </a:solidFill>
                <a:latin typeface="Calibri"/>
              </a:rPr>
              <a:t>закупок Группы РусГидро осуществляется на электронных торговых площадках</a:t>
            </a:r>
          </a:p>
        </p:txBody>
      </p:sp>
    </p:spTree>
    <p:extLst>
      <p:ext uri="{BB962C8B-B14F-4D97-AF65-F5344CB8AC3E}">
        <p14:creationId xmlns:p14="http://schemas.microsoft.com/office/powerpoint/2010/main" val="187027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mM8IlMaE2qLAJdcjsI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IbX1_xGUqfMHUHlEb2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mM8IlMaE2qLAJdcjsI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IbX1_xGUqfMHUHlEb2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rdik8GkeFSV8RAuzaRQ"/>
</p:tagLst>
</file>

<file path=ppt/theme/theme1.xml><?xml version="1.0" encoding="utf-8"?>
<a:theme xmlns:a="http://schemas.openxmlformats.org/drawingml/2006/main" name="3_rh_presentation_template">
  <a:themeElements>
    <a:clrScheme name="RusHydro">
      <a:dk1>
        <a:srgbClr val="505150"/>
      </a:dk1>
      <a:lt1>
        <a:sysClr val="window" lastClr="FFFFFF"/>
      </a:lt1>
      <a:dk2>
        <a:srgbClr val="272727"/>
      </a:dk2>
      <a:lt2>
        <a:srgbClr val="C0C1BF"/>
      </a:lt2>
      <a:accent1>
        <a:srgbClr val="0C377B"/>
      </a:accent1>
      <a:accent2>
        <a:srgbClr val="3D5F95"/>
      </a:accent2>
      <a:accent3>
        <a:srgbClr val="6D87B0"/>
      </a:accent3>
      <a:accent4>
        <a:srgbClr val="9EAFCA"/>
      </a:accent4>
      <a:accent5>
        <a:srgbClr val="CED7E5"/>
      </a:accent5>
      <a:accent6>
        <a:srgbClr val="DC5A20"/>
      </a:accent6>
      <a:hlink>
        <a:srgbClr val="0000FF"/>
      </a:hlink>
      <a:folHlink>
        <a:srgbClr val="800080"/>
      </a:folHlink>
    </a:clrScheme>
    <a:fontScheme name="RusHydr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505150"/>
          </a:solidFill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424</TotalTime>
  <Words>1758</Words>
  <Application>Microsoft Office PowerPoint</Application>
  <PresentationFormat>Произвольный</PresentationFormat>
  <Paragraphs>243</Paragraphs>
  <Slides>17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3_rh_presentation_template</vt:lpstr>
      <vt:lpstr>think-cell Slide</vt:lpstr>
      <vt:lpstr>Презентация PowerPoint</vt:lpstr>
      <vt:lpstr>РусГидро - один из крупнейших российских энергетических холдингов, являющийся лидером в производстве энергии на базе возобновляемых источников</vt:lpstr>
      <vt:lpstr>Основные категории закупок ПАО «РусГидро» </vt:lpstr>
      <vt:lpstr>Прозрачность закупочной деятельности,  повышение уровня конкуренции при проведении закупок</vt:lpstr>
      <vt:lpstr>Коллегиальность принятия решений</vt:lpstr>
      <vt:lpstr>Выполнение норм законодательства РФ, соблюдение директив и интересов государства, внутренняя система регламентации</vt:lpstr>
      <vt:lpstr>Снижение коррупционных рисков</vt:lpstr>
      <vt:lpstr>Сравнительный анализ закупочной деятельности                  ПАО «РусГидро» по годам (2015-2017)</vt:lpstr>
      <vt:lpstr>Применение электронной коммерции</vt:lpstr>
      <vt:lpstr>Стимулирование справедливой конкуренции участников рынка, минимизация закупок у единственного источника</vt:lpstr>
      <vt:lpstr>Достижение экономического эффекта</vt:lpstr>
      <vt:lpstr>Поддержка МСП</vt:lpstr>
      <vt:lpstr>Поддержка субъектов малого и среднего и предпринимательства</vt:lpstr>
      <vt:lpstr>Основные принципы оценки заявок</vt:lpstr>
      <vt:lpstr>Взаимодействие Заказчика и Участника в процессе закупки</vt:lpstr>
      <vt:lpstr>Примеры ошибок и некорректного поведения участников закупок</vt:lpstr>
      <vt:lpstr>Презентация PowerPoint</vt:lpstr>
    </vt:vector>
  </TitlesOfParts>
  <Company>РусГидро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</dc:creator>
  <cp:lastModifiedBy>Мусалав</cp:lastModifiedBy>
  <cp:revision>3122</cp:revision>
  <cp:lastPrinted>2016-10-26T16:03:06Z</cp:lastPrinted>
  <dcterms:created xsi:type="dcterms:W3CDTF">2010-04-29T15:43:07Z</dcterms:created>
  <dcterms:modified xsi:type="dcterms:W3CDTF">2017-12-18T05:53:48Z</dcterms:modified>
</cp:coreProperties>
</file>